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drawings/drawing3.xml" ContentType="application/vnd.openxmlformats-officedocument.drawingml.chartshapes+xml"/>
  <Override PartName="/ppt/charts/chart9.xml" ContentType="application/vnd.openxmlformats-officedocument.drawingml.chart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2" r:id="rId5"/>
    <p:sldMasterId id="2147483681" r:id="rId6"/>
    <p:sldMasterId id="2147483689" r:id="rId7"/>
    <p:sldMasterId id="2147483716" r:id="rId8"/>
    <p:sldMasterId id="2147483737" r:id="rId9"/>
  </p:sldMasterIdLst>
  <p:notesMasterIdLst>
    <p:notesMasterId r:id="rId24"/>
  </p:notesMasterIdLst>
  <p:sldIdLst>
    <p:sldId id="336" r:id="rId10"/>
    <p:sldId id="395" r:id="rId11"/>
    <p:sldId id="396" r:id="rId12"/>
    <p:sldId id="374" r:id="rId13"/>
    <p:sldId id="390" r:id="rId14"/>
    <p:sldId id="384" r:id="rId15"/>
    <p:sldId id="385" r:id="rId16"/>
    <p:sldId id="382" r:id="rId17"/>
    <p:sldId id="388" r:id="rId18"/>
    <p:sldId id="398" r:id="rId19"/>
    <p:sldId id="393" r:id="rId20"/>
    <p:sldId id="392" r:id="rId21"/>
    <p:sldId id="394" r:id="rId22"/>
    <p:sldId id="338" r:id="rId23"/>
  </p:sldIdLst>
  <p:sldSz cx="12192000" cy="6858000"/>
  <p:notesSz cx="6797675" cy="9926638"/>
  <p:custDataLst>
    <p:tags r:id="rId25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 userDrawn="1">
          <p15:clr>
            <a:srgbClr val="A4A3A4"/>
          </p15:clr>
        </p15:guide>
        <p15:guide id="4" pos="7151" userDrawn="1">
          <p15:clr>
            <a:srgbClr val="A4A3A4"/>
          </p15:clr>
        </p15:guide>
        <p15:guide id="7" orient="horz" pos="2341" userDrawn="1">
          <p15:clr>
            <a:srgbClr val="A4A3A4"/>
          </p15:clr>
        </p15:guide>
        <p15:guide id="8" orient="horz" pos="36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DB094"/>
    <a:srgbClr val="F6F5F1"/>
    <a:srgbClr val="8FB8CA"/>
    <a:srgbClr val="595959"/>
    <a:srgbClr val="366D6B"/>
    <a:srgbClr val="D36248"/>
    <a:srgbClr val="3B5776"/>
    <a:srgbClr val="9D9C9C"/>
    <a:srgbClr val="36646B"/>
    <a:srgbClr val="D462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3" autoAdjust="0"/>
    <p:restoredTop sz="93361" autoAdjust="0"/>
  </p:normalViewPr>
  <p:slideViewPr>
    <p:cSldViewPr snapToGrid="0" showGuides="1">
      <p:cViewPr varScale="1">
        <p:scale>
          <a:sx n="96" d="100"/>
          <a:sy n="96" d="100"/>
        </p:scale>
        <p:origin x="86" y="163"/>
      </p:cViewPr>
      <p:guideLst>
        <p:guide pos="3840"/>
        <p:guide pos="7151"/>
        <p:guide orient="horz" pos="2341"/>
        <p:guide orient="horz" pos="36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BNP%20data/BNP%20senaste%20prognoser%20fr&#229;n%20KIs%20sammanst&#228;llning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F&#246;retagssektor/Konjunkturinstitutet/KI%20barometer%20G&#246;teborgsregionen%20-masterfil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F&#246;retagssektor/Konjunkturinstitutet/KI%20barometer%20G&#246;teborgsregionen%20-masterfi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F&#246;retagssektor/Konjunkturinstitutet/KI%20barometer%20G&#246;teborgsregionen%20-masterfil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Rapportunderlag/2021/AKU%20ers&#228;ttare%20under%202021/Ny%20AKU%20fil%20sysselsatta%20per%20storstadsregion%20-%20fr&#229;n%202008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Arbetsmarknaden/Antal%20arbetsl&#246;sa/M&#229;nadsdata%20-%20totalt%2016-64%20&#229;r%20-%20fr&#229;n%202007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https://businessregion.sharepoint.com/sites/etablering-och-investering-avd/Delade%20dokument/Analys/Statistik/Konjunkturen/Statistik/Arbetsmarknaden/Nya%20platser,%20varsel%20och%20konkurser/Nya%20platser%20och%20varsel%20-%20fr&#229;n%201998.xlsx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https://businessregion.sharepoint.com/sites/etablering-och-investering-avd/Delade%20dokument/Analys/Statistik/L&#246;nesummor/Modellbaserade%20l&#246;nesummor%20kvartalsvis%20fr&#229;n%202000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https://businessregion.sharepoint.com/sites/etablering-och-investering-avd/Delade%20dokument/Analys/Statistik/Konjunkturen/Statistik/Folkm&#228;ngd/Befolkning%20G&#246;teborgsregionen%20-%20kvartalssiffror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36517837484383E-2"/>
          <c:y val="4.3215432098765431E-2"/>
          <c:w val="0.95266239136941278"/>
          <c:h val="0.86676543209876544"/>
        </c:manualLayout>
      </c:layout>
      <c:barChart>
        <c:barDir val="col"/>
        <c:grouping val="clustered"/>
        <c:varyColors val="0"/>
        <c:ser>
          <c:idx val="0"/>
          <c:order val="0"/>
          <c:tx>
            <c:v>2020</c:v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vensk BNP'!$J$58:$J$64</c:f>
              <c:strCache>
                <c:ptCount val="7"/>
                <c:pt idx="0">
                  <c:v>SEB</c:v>
                </c:pt>
                <c:pt idx="1">
                  <c:v>Regeringen</c:v>
                </c:pt>
                <c:pt idx="2">
                  <c:v>Handelsbanken</c:v>
                </c:pt>
                <c:pt idx="3">
                  <c:v>Swedbank</c:v>
                </c:pt>
                <c:pt idx="4">
                  <c:v>Riksbanken</c:v>
                </c:pt>
                <c:pt idx="6">
                  <c:v>Sverigesnitt</c:v>
                </c:pt>
              </c:strCache>
            </c:strRef>
          </c:cat>
          <c:val>
            <c:numRef>
              <c:f>'Svensk BNP'!$L$58:$L$64</c:f>
              <c:numCache>
                <c:formatCode>0.0%</c:formatCode>
                <c:ptCount val="7"/>
                <c:pt idx="0">
                  <c:v>-2.7999999999999997E-2</c:v>
                </c:pt>
                <c:pt idx="1">
                  <c:v>-2.7999999999999997E-2</c:v>
                </c:pt>
                <c:pt idx="2">
                  <c:v>-2.7999999999999997E-2</c:v>
                </c:pt>
                <c:pt idx="3">
                  <c:v>-2.7999999999999997E-2</c:v>
                </c:pt>
                <c:pt idx="4">
                  <c:v>-2.7999999999999997E-2</c:v>
                </c:pt>
                <c:pt idx="6">
                  <c:v>-2.7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2A-4DED-8235-E6D7B609DCF3}"/>
            </c:ext>
          </c:extLst>
        </c:ser>
        <c:ser>
          <c:idx val="1"/>
          <c:order val="1"/>
          <c:tx>
            <c:v>2021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vensk BNP'!$J$58:$J$64</c:f>
              <c:strCache>
                <c:ptCount val="7"/>
                <c:pt idx="0">
                  <c:v>SEB</c:v>
                </c:pt>
                <c:pt idx="1">
                  <c:v>Regeringen</c:v>
                </c:pt>
                <c:pt idx="2">
                  <c:v>Handelsbanken</c:v>
                </c:pt>
                <c:pt idx="3">
                  <c:v>Swedbank</c:v>
                </c:pt>
                <c:pt idx="4">
                  <c:v>Riksbanken</c:v>
                </c:pt>
                <c:pt idx="6">
                  <c:v>Sverigesnitt</c:v>
                </c:pt>
              </c:strCache>
            </c:strRef>
          </c:cat>
          <c:val>
            <c:numRef>
              <c:f>'Svensk BNP'!$M$58:$M$64</c:f>
              <c:numCache>
                <c:formatCode>0.0%</c:formatCode>
                <c:ptCount val="7"/>
                <c:pt idx="0">
                  <c:v>4.5999999999999999E-2</c:v>
                </c:pt>
                <c:pt idx="1">
                  <c:v>4.4000000000000004E-2</c:v>
                </c:pt>
                <c:pt idx="2">
                  <c:v>4.4000000000000004E-2</c:v>
                </c:pt>
                <c:pt idx="3">
                  <c:v>4.4000000000000004E-2</c:v>
                </c:pt>
                <c:pt idx="4">
                  <c:v>4.2000000000000003E-2</c:v>
                </c:pt>
                <c:pt idx="6">
                  <c:v>4.4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2A-4DED-8235-E6D7B609DCF3}"/>
            </c:ext>
          </c:extLst>
        </c:ser>
        <c:ser>
          <c:idx val="2"/>
          <c:order val="2"/>
          <c:tx>
            <c:v>2022</c:v>
          </c:tx>
          <c:spPr>
            <a:solidFill>
              <a:srgbClr val="7DB09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Svensk BNP'!$N$58:$N$64</c:f>
              <c:numCache>
                <c:formatCode>0.0%</c:formatCode>
                <c:ptCount val="7"/>
                <c:pt idx="0">
                  <c:v>3.9E-2</c:v>
                </c:pt>
                <c:pt idx="1">
                  <c:v>3.5000000000000003E-2</c:v>
                </c:pt>
                <c:pt idx="2">
                  <c:v>3.5000000000000003E-2</c:v>
                </c:pt>
                <c:pt idx="3">
                  <c:v>3.6000000000000004E-2</c:v>
                </c:pt>
                <c:pt idx="4">
                  <c:v>3.7000000000000005E-2</c:v>
                </c:pt>
                <c:pt idx="6">
                  <c:v>3.64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E2A-4DED-8235-E6D7B609DC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50"/>
        <c:axId val="855177311"/>
        <c:axId val="1395990591"/>
      </c:barChart>
      <c:catAx>
        <c:axId val="855177311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395990591"/>
        <c:crosses val="autoZero"/>
        <c:auto val="1"/>
        <c:lblAlgn val="ctr"/>
        <c:lblOffset val="100"/>
        <c:tickLblSkip val="1"/>
        <c:noMultiLvlLbl val="0"/>
      </c:catAx>
      <c:valAx>
        <c:axId val="1395990591"/>
        <c:scaling>
          <c:orientation val="minMax"/>
          <c:max val="8.0000000000000016E-2"/>
          <c:min val="-6.0000000000000012E-2"/>
        </c:scaling>
        <c:delete val="0"/>
        <c:axPos val="l"/>
        <c:numFmt formatCode="0%" sourceLinked="0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8551773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9555901634434578"/>
          <c:y val="3.5127777777777779E-2"/>
          <c:w val="0.19101610054922508"/>
          <c:h val="9.47089922178599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195585996955865E-2"/>
          <c:y val="3.8999836038694863E-2"/>
          <c:w val="0.92273668188736668"/>
          <c:h val="0.69369665964113503"/>
        </c:manualLayout>
      </c:layout>
      <c:lineChart>
        <c:grouping val="standard"/>
        <c:varyColors val="0"/>
        <c:ser>
          <c:idx val="0"/>
          <c:order val="0"/>
          <c:tx>
            <c:v>  Konjunkturindikator Göteborgsregionen</c:v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60"/>
              <c:layout>
                <c:manualLayout>
                  <c:x val="-7.1194824961948254E-4"/>
                  <c:y val="-4.773092005278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AA4-4E6D-8C4A-302631E1F5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Masterfil BI'!$A$33:$A$93</c:f>
              <c:strCache>
                <c:ptCount val="61"/>
                <c:pt idx="0">
                  <c:v>2006 kvartal 2</c:v>
                </c:pt>
                <c:pt idx="1">
                  <c:v>2006 kvartal 3</c:v>
                </c:pt>
                <c:pt idx="2">
                  <c:v>2006 kvartal 4</c:v>
                </c:pt>
                <c:pt idx="3">
                  <c:v>2007 kvartal 1</c:v>
                </c:pt>
                <c:pt idx="4">
                  <c:v>2007 kvartal 2</c:v>
                </c:pt>
                <c:pt idx="5">
                  <c:v>2007 kvartal 3</c:v>
                </c:pt>
                <c:pt idx="6">
                  <c:v>2007 kvartal 4</c:v>
                </c:pt>
                <c:pt idx="7">
                  <c:v>2008 kvartal 1</c:v>
                </c:pt>
                <c:pt idx="8">
                  <c:v>2008 kvartal 2</c:v>
                </c:pt>
                <c:pt idx="9">
                  <c:v>2008 kvartal 3</c:v>
                </c:pt>
                <c:pt idx="10">
                  <c:v>2008 kvartal 4</c:v>
                </c:pt>
                <c:pt idx="11">
                  <c:v>2009 kvartal 1</c:v>
                </c:pt>
                <c:pt idx="12">
                  <c:v>2009 kvartal 2</c:v>
                </c:pt>
                <c:pt idx="13">
                  <c:v>2009 kvartal 3</c:v>
                </c:pt>
                <c:pt idx="14">
                  <c:v>2009 kvartal 4</c:v>
                </c:pt>
                <c:pt idx="15">
                  <c:v>2010 kvartal 1</c:v>
                </c:pt>
                <c:pt idx="16">
                  <c:v>2010 kvartal 2</c:v>
                </c:pt>
                <c:pt idx="17">
                  <c:v>2010 kvartal 3</c:v>
                </c:pt>
                <c:pt idx="18">
                  <c:v>2010 kvartal 4</c:v>
                </c:pt>
                <c:pt idx="19">
                  <c:v>2011 kvartal 1</c:v>
                </c:pt>
                <c:pt idx="20">
                  <c:v>2011 kvartal 2</c:v>
                </c:pt>
                <c:pt idx="21">
                  <c:v>2011 kvartal 3</c:v>
                </c:pt>
                <c:pt idx="22">
                  <c:v>2011 kvartal 4</c:v>
                </c:pt>
                <c:pt idx="23">
                  <c:v>2012 kvartal 1</c:v>
                </c:pt>
                <c:pt idx="24">
                  <c:v>2012 kvartal 2</c:v>
                </c:pt>
                <c:pt idx="25">
                  <c:v>2012 kvartal 3</c:v>
                </c:pt>
                <c:pt idx="26">
                  <c:v>2012 kvartal 4</c:v>
                </c:pt>
                <c:pt idx="27">
                  <c:v>2013 kvartal 1</c:v>
                </c:pt>
                <c:pt idx="28">
                  <c:v>2013 kvartal 2</c:v>
                </c:pt>
                <c:pt idx="29">
                  <c:v>2013 kvartal 3</c:v>
                </c:pt>
                <c:pt idx="30">
                  <c:v>2013 kvartal 4</c:v>
                </c:pt>
                <c:pt idx="31">
                  <c:v>2014 kvartal 1</c:v>
                </c:pt>
                <c:pt idx="32">
                  <c:v>2014 kvartal 2</c:v>
                </c:pt>
                <c:pt idx="33">
                  <c:v>2014 kvartal 3</c:v>
                </c:pt>
                <c:pt idx="34">
                  <c:v>2014 kvartal 4</c:v>
                </c:pt>
                <c:pt idx="35">
                  <c:v>2015 kvartal 1</c:v>
                </c:pt>
                <c:pt idx="36">
                  <c:v>2015 kvartal 2</c:v>
                </c:pt>
                <c:pt idx="37">
                  <c:v>2015 kvartal 3</c:v>
                </c:pt>
                <c:pt idx="38">
                  <c:v>2015 kvartal 4</c:v>
                </c:pt>
                <c:pt idx="39">
                  <c:v>2016 kvartal 1</c:v>
                </c:pt>
                <c:pt idx="40">
                  <c:v>2016 kvartal 2</c:v>
                </c:pt>
                <c:pt idx="41">
                  <c:v>2016 kvartal 3</c:v>
                </c:pt>
                <c:pt idx="42">
                  <c:v>2016 kvartal 4</c:v>
                </c:pt>
                <c:pt idx="43">
                  <c:v>2017 kvartal 1</c:v>
                </c:pt>
                <c:pt idx="44">
                  <c:v>2017 kvartal 2</c:v>
                </c:pt>
                <c:pt idx="45">
                  <c:v>2017 kvartal 3</c:v>
                </c:pt>
                <c:pt idx="46">
                  <c:v>2017 kvartal 4</c:v>
                </c:pt>
                <c:pt idx="47">
                  <c:v>2018 kvartal 1</c:v>
                </c:pt>
                <c:pt idx="48">
                  <c:v>2018 kvartal 2</c:v>
                </c:pt>
                <c:pt idx="49">
                  <c:v>2018 kvartal 3</c:v>
                </c:pt>
                <c:pt idx="50">
                  <c:v>2018 kvartal 4</c:v>
                </c:pt>
                <c:pt idx="51">
                  <c:v>2019 kvartal 1</c:v>
                </c:pt>
                <c:pt idx="52">
                  <c:v>2019 kvartal 2</c:v>
                </c:pt>
                <c:pt idx="53">
                  <c:v>2019 kvartal 3</c:v>
                </c:pt>
                <c:pt idx="54">
                  <c:v>2019 kvartal 4</c:v>
                </c:pt>
                <c:pt idx="55">
                  <c:v>2020 kvartal 1</c:v>
                </c:pt>
                <c:pt idx="56">
                  <c:v>2020 kvartal 2</c:v>
                </c:pt>
                <c:pt idx="57">
                  <c:v>2020 kvartal 3</c:v>
                </c:pt>
                <c:pt idx="58">
                  <c:v>2020 kvartal 4</c:v>
                </c:pt>
                <c:pt idx="59">
                  <c:v>2021 kvartal 1</c:v>
                </c:pt>
                <c:pt idx="60">
                  <c:v>2021 kvartal 2</c:v>
                </c:pt>
              </c:strCache>
            </c:strRef>
          </c:cat>
          <c:val>
            <c:numRef>
              <c:f>'Masterfil BI'!$C$33:$C$93</c:f>
              <c:numCache>
                <c:formatCode>0.0</c:formatCode>
                <c:ptCount val="61"/>
                <c:pt idx="0">
                  <c:v>101.97222037183136</c:v>
                </c:pt>
                <c:pt idx="1">
                  <c:v>102.35282306071815</c:v>
                </c:pt>
                <c:pt idx="2">
                  <c:v>108.66598390462532</c:v>
                </c:pt>
                <c:pt idx="3">
                  <c:v>105.1495713524161</c:v>
                </c:pt>
                <c:pt idx="4">
                  <c:v>102.13837183732498</c:v>
                </c:pt>
                <c:pt idx="5">
                  <c:v>99.577268790743489</c:v>
                </c:pt>
                <c:pt idx="6">
                  <c:v>96.994000084593551</c:v>
                </c:pt>
                <c:pt idx="7">
                  <c:v>102.73218572381913</c:v>
                </c:pt>
                <c:pt idx="8">
                  <c:v>88.698249560730488</c:v>
                </c:pt>
                <c:pt idx="9">
                  <c:v>83.438060489337246</c:v>
                </c:pt>
                <c:pt idx="10">
                  <c:v>73.013013053762222</c:v>
                </c:pt>
                <c:pt idx="11">
                  <c:v>73.14994686524318</c:v>
                </c:pt>
                <c:pt idx="12">
                  <c:v>83.066638575422857</c:v>
                </c:pt>
                <c:pt idx="13">
                  <c:v>93.131252244578207</c:v>
                </c:pt>
                <c:pt idx="14">
                  <c:v>103.2257455753973</c:v>
                </c:pt>
                <c:pt idx="15">
                  <c:v>101.78200745303354</c:v>
                </c:pt>
                <c:pt idx="16">
                  <c:v>111.33296530530791</c:v>
                </c:pt>
                <c:pt idx="17">
                  <c:v>110.26223514500109</c:v>
                </c:pt>
                <c:pt idx="18">
                  <c:v>113.70930863319282</c:v>
                </c:pt>
                <c:pt idx="19">
                  <c:v>109.83989513059485</c:v>
                </c:pt>
                <c:pt idx="20">
                  <c:v>104.14535833900698</c:v>
                </c:pt>
                <c:pt idx="21">
                  <c:v>98.59992374584661</c:v>
                </c:pt>
                <c:pt idx="22">
                  <c:v>93.210606224398632</c:v>
                </c:pt>
                <c:pt idx="23">
                  <c:v>100.81417416704591</c:v>
                </c:pt>
                <c:pt idx="24">
                  <c:v>96.851079979024718</c:v>
                </c:pt>
                <c:pt idx="25">
                  <c:v>93.1436041160824</c:v>
                </c:pt>
                <c:pt idx="26">
                  <c:v>87.826052463395285</c:v>
                </c:pt>
                <c:pt idx="27">
                  <c:v>92.762067898832683</c:v>
                </c:pt>
                <c:pt idx="28">
                  <c:v>98.592644303760224</c:v>
                </c:pt>
                <c:pt idx="29">
                  <c:v>100.35659486663145</c:v>
                </c:pt>
                <c:pt idx="30">
                  <c:v>104.59780068810809</c:v>
                </c:pt>
                <c:pt idx="31">
                  <c:v>102.97693413761169</c:v>
                </c:pt>
                <c:pt idx="32">
                  <c:v>101.88040088602149</c:v>
                </c:pt>
                <c:pt idx="33">
                  <c:v>102.40598231015066</c:v>
                </c:pt>
                <c:pt idx="34">
                  <c:v>103.70277890142678</c:v>
                </c:pt>
                <c:pt idx="35">
                  <c:v>104.12461230373465</c:v>
                </c:pt>
                <c:pt idx="36">
                  <c:v>107.7784177237355</c:v>
                </c:pt>
                <c:pt idx="37">
                  <c:v>109.47764583831759</c:v>
                </c:pt>
                <c:pt idx="38">
                  <c:v>107.84092927623571</c:v>
                </c:pt>
                <c:pt idx="39">
                  <c:v>105.85556392721591</c:v>
                </c:pt>
                <c:pt idx="40">
                  <c:v>107.08952267701976</c:v>
                </c:pt>
                <c:pt idx="41">
                  <c:v>104.81783471008809</c:v>
                </c:pt>
                <c:pt idx="42">
                  <c:v>107.61685173619297</c:v>
                </c:pt>
                <c:pt idx="43">
                  <c:v>110.3085276544206</c:v>
                </c:pt>
                <c:pt idx="44">
                  <c:v>107.34584713231609</c:v>
                </c:pt>
                <c:pt idx="45">
                  <c:v>105.79715190488386</c:v>
                </c:pt>
                <c:pt idx="46">
                  <c:v>108.49325647145834</c:v>
                </c:pt>
                <c:pt idx="47">
                  <c:v>106.78144271311596</c:v>
                </c:pt>
                <c:pt idx="48">
                  <c:v>105.37170786573451</c:v>
                </c:pt>
                <c:pt idx="49">
                  <c:v>101.7261767557937</c:v>
                </c:pt>
                <c:pt idx="50">
                  <c:v>98.945519856050353</c:v>
                </c:pt>
                <c:pt idx="51">
                  <c:v>102.25959610337688</c:v>
                </c:pt>
                <c:pt idx="52">
                  <c:v>99.360396896535832</c:v>
                </c:pt>
                <c:pt idx="53">
                  <c:v>93.990578292538345</c:v>
                </c:pt>
                <c:pt idx="54">
                  <c:v>97.185513333233942</c:v>
                </c:pt>
                <c:pt idx="55">
                  <c:v>62.372493026396882</c:v>
                </c:pt>
                <c:pt idx="56">
                  <c:v>81.057891441816025</c:v>
                </c:pt>
                <c:pt idx="57">
                  <c:v>92.264081243569294</c:v>
                </c:pt>
                <c:pt idx="58">
                  <c:v>96.783333193874654</c:v>
                </c:pt>
                <c:pt idx="59">
                  <c:v>106.90912421776862</c:v>
                </c:pt>
                <c:pt idx="60">
                  <c:v>116.425104338680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A4-4E6D-8C4A-302631E1F5F5}"/>
            </c:ext>
          </c:extLst>
        </c:ser>
        <c:ser>
          <c:idx val="1"/>
          <c:order val="1"/>
          <c:tx>
            <c:v>  Normal konjunktur - nedre gräns</c:v>
          </c:tx>
          <c:spPr>
            <a:ln w="12700" cap="rnd">
              <a:solidFill>
                <a:srgbClr val="7DB094"/>
              </a:solidFill>
              <a:round/>
            </a:ln>
            <a:effectLst/>
          </c:spPr>
          <c:marker>
            <c:symbol val="none"/>
          </c:marker>
          <c:dLbls>
            <c:dLbl>
              <c:idx val="38"/>
              <c:layout>
                <c:manualLayout>
                  <c:x val="-0.10660345657484856"/>
                  <c:y val="0.1221983394137014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Intervall för normal konjunktur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145174327257541"/>
                      <c:h val="0.1543638521507931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CAA4-4E6D-8C4A-302631E1F5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7DB094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sterfil BI'!$A$33:$A$93</c:f>
              <c:strCache>
                <c:ptCount val="61"/>
                <c:pt idx="0">
                  <c:v>2006 kvartal 2</c:v>
                </c:pt>
                <c:pt idx="1">
                  <c:v>2006 kvartal 3</c:v>
                </c:pt>
                <c:pt idx="2">
                  <c:v>2006 kvartal 4</c:v>
                </c:pt>
                <c:pt idx="3">
                  <c:v>2007 kvartal 1</c:v>
                </c:pt>
                <c:pt idx="4">
                  <c:v>2007 kvartal 2</c:v>
                </c:pt>
                <c:pt idx="5">
                  <c:v>2007 kvartal 3</c:v>
                </c:pt>
                <c:pt idx="6">
                  <c:v>2007 kvartal 4</c:v>
                </c:pt>
                <c:pt idx="7">
                  <c:v>2008 kvartal 1</c:v>
                </c:pt>
                <c:pt idx="8">
                  <c:v>2008 kvartal 2</c:v>
                </c:pt>
                <c:pt idx="9">
                  <c:v>2008 kvartal 3</c:v>
                </c:pt>
                <c:pt idx="10">
                  <c:v>2008 kvartal 4</c:v>
                </c:pt>
                <c:pt idx="11">
                  <c:v>2009 kvartal 1</c:v>
                </c:pt>
                <c:pt idx="12">
                  <c:v>2009 kvartal 2</c:v>
                </c:pt>
                <c:pt idx="13">
                  <c:v>2009 kvartal 3</c:v>
                </c:pt>
                <c:pt idx="14">
                  <c:v>2009 kvartal 4</c:v>
                </c:pt>
                <c:pt idx="15">
                  <c:v>2010 kvartal 1</c:v>
                </c:pt>
                <c:pt idx="16">
                  <c:v>2010 kvartal 2</c:v>
                </c:pt>
                <c:pt idx="17">
                  <c:v>2010 kvartal 3</c:v>
                </c:pt>
                <c:pt idx="18">
                  <c:v>2010 kvartal 4</c:v>
                </c:pt>
                <c:pt idx="19">
                  <c:v>2011 kvartal 1</c:v>
                </c:pt>
                <c:pt idx="20">
                  <c:v>2011 kvartal 2</c:v>
                </c:pt>
                <c:pt idx="21">
                  <c:v>2011 kvartal 3</c:v>
                </c:pt>
                <c:pt idx="22">
                  <c:v>2011 kvartal 4</c:v>
                </c:pt>
                <c:pt idx="23">
                  <c:v>2012 kvartal 1</c:v>
                </c:pt>
                <c:pt idx="24">
                  <c:v>2012 kvartal 2</c:v>
                </c:pt>
                <c:pt idx="25">
                  <c:v>2012 kvartal 3</c:v>
                </c:pt>
                <c:pt idx="26">
                  <c:v>2012 kvartal 4</c:v>
                </c:pt>
                <c:pt idx="27">
                  <c:v>2013 kvartal 1</c:v>
                </c:pt>
                <c:pt idx="28">
                  <c:v>2013 kvartal 2</c:v>
                </c:pt>
                <c:pt idx="29">
                  <c:v>2013 kvartal 3</c:v>
                </c:pt>
                <c:pt idx="30">
                  <c:v>2013 kvartal 4</c:v>
                </c:pt>
                <c:pt idx="31">
                  <c:v>2014 kvartal 1</c:v>
                </c:pt>
                <c:pt idx="32">
                  <c:v>2014 kvartal 2</c:v>
                </c:pt>
                <c:pt idx="33">
                  <c:v>2014 kvartal 3</c:v>
                </c:pt>
                <c:pt idx="34">
                  <c:v>2014 kvartal 4</c:v>
                </c:pt>
                <c:pt idx="35">
                  <c:v>2015 kvartal 1</c:v>
                </c:pt>
                <c:pt idx="36">
                  <c:v>2015 kvartal 2</c:v>
                </c:pt>
                <c:pt idx="37">
                  <c:v>2015 kvartal 3</c:v>
                </c:pt>
                <c:pt idx="38">
                  <c:v>2015 kvartal 4</c:v>
                </c:pt>
                <c:pt idx="39">
                  <c:v>2016 kvartal 1</c:v>
                </c:pt>
                <c:pt idx="40">
                  <c:v>2016 kvartal 2</c:v>
                </c:pt>
                <c:pt idx="41">
                  <c:v>2016 kvartal 3</c:v>
                </c:pt>
                <c:pt idx="42">
                  <c:v>2016 kvartal 4</c:v>
                </c:pt>
                <c:pt idx="43">
                  <c:v>2017 kvartal 1</c:v>
                </c:pt>
                <c:pt idx="44">
                  <c:v>2017 kvartal 2</c:v>
                </c:pt>
                <c:pt idx="45">
                  <c:v>2017 kvartal 3</c:v>
                </c:pt>
                <c:pt idx="46">
                  <c:v>2017 kvartal 4</c:v>
                </c:pt>
                <c:pt idx="47">
                  <c:v>2018 kvartal 1</c:v>
                </c:pt>
                <c:pt idx="48">
                  <c:v>2018 kvartal 2</c:v>
                </c:pt>
                <c:pt idx="49">
                  <c:v>2018 kvartal 3</c:v>
                </c:pt>
                <c:pt idx="50">
                  <c:v>2018 kvartal 4</c:v>
                </c:pt>
                <c:pt idx="51">
                  <c:v>2019 kvartal 1</c:v>
                </c:pt>
                <c:pt idx="52">
                  <c:v>2019 kvartal 2</c:v>
                </c:pt>
                <c:pt idx="53">
                  <c:v>2019 kvartal 3</c:v>
                </c:pt>
                <c:pt idx="54">
                  <c:v>2019 kvartal 4</c:v>
                </c:pt>
                <c:pt idx="55">
                  <c:v>2020 kvartal 1</c:v>
                </c:pt>
                <c:pt idx="56">
                  <c:v>2020 kvartal 2</c:v>
                </c:pt>
                <c:pt idx="57">
                  <c:v>2020 kvartal 3</c:v>
                </c:pt>
                <c:pt idx="58">
                  <c:v>2020 kvartal 4</c:v>
                </c:pt>
                <c:pt idx="59">
                  <c:v>2021 kvartal 1</c:v>
                </c:pt>
                <c:pt idx="60">
                  <c:v>2021 kvartal 2</c:v>
                </c:pt>
              </c:strCache>
            </c:strRef>
          </c:cat>
          <c:val>
            <c:numRef>
              <c:f>'Masterfil BI'!$G$33:$G$93</c:f>
              <c:numCache>
                <c:formatCode>0.0</c:formatCode>
                <c:ptCount val="61"/>
                <c:pt idx="0">
                  <c:v>99</c:v>
                </c:pt>
                <c:pt idx="1">
                  <c:v>99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  <c:pt idx="5">
                  <c:v>99</c:v>
                </c:pt>
                <c:pt idx="6">
                  <c:v>99</c:v>
                </c:pt>
                <c:pt idx="7">
                  <c:v>99</c:v>
                </c:pt>
                <c:pt idx="8">
                  <c:v>99</c:v>
                </c:pt>
                <c:pt idx="9">
                  <c:v>99</c:v>
                </c:pt>
                <c:pt idx="10">
                  <c:v>99</c:v>
                </c:pt>
                <c:pt idx="11">
                  <c:v>99</c:v>
                </c:pt>
                <c:pt idx="12">
                  <c:v>99</c:v>
                </c:pt>
                <c:pt idx="13">
                  <c:v>99</c:v>
                </c:pt>
                <c:pt idx="14">
                  <c:v>99</c:v>
                </c:pt>
                <c:pt idx="15">
                  <c:v>99</c:v>
                </c:pt>
                <c:pt idx="16">
                  <c:v>99</c:v>
                </c:pt>
                <c:pt idx="17">
                  <c:v>99</c:v>
                </c:pt>
                <c:pt idx="18">
                  <c:v>99</c:v>
                </c:pt>
                <c:pt idx="19">
                  <c:v>99</c:v>
                </c:pt>
                <c:pt idx="20">
                  <c:v>99</c:v>
                </c:pt>
                <c:pt idx="21">
                  <c:v>99</c:v>
                </c:pt>
                <c:pt idx="22">
                  <c:v>99</c:v>
                </c:pt>
                <c:pt idx="23">
                  <c:v>99</c:v>
                </c:pt>
                <c:pt idx="24">
                  <c:v>99</c:v>
                </c:pt>
                <c:pt idx="25">
                  <c:v>99</c:v>
                </c:pt>
                <c:pt idx="26">
                  <c:v>99</c:v>
                </c:pt>
                <c:pt idx="27">
                  <c:v>99</c:v>
                </c:pt>
                <c:pt idx="28">
                  <c:v>99</c:v>
                </c:pt>
                <c:pt idx="29">
                  <c:v>99</c:v>
                </c:pt>
                <c:pt idx="30">
                  <c:v>99</c:v>
                </c:pt>
                <c:pt idx="31">
                  <c:v>99</c:v>
                </c:pt>
                <c:pt idx="32">
                  <c:v>99</c:v>
                </c:pt>
                <c:pt idx="33">
                  <c:v>99</c:v>
                </c:pt>
                <c:pt idx="34">
                  <c:v>99</c:v>
                </c:pt>
                <c:pt idx="35">
                  <c:v>99</c:v>
                </c:pt>
                <c:pt idx="36">
                  <c:v>99</c:v>
                </c:pt>
                <c:pt idx="37">
                  <c:v>99</c:v>
                </c:pt>
                <c:pt idx="38">
                  <c:v>99</c:v>
                </c:pt>
                <c:pt idx="39">
                  <c:v>99</c:v>
                </c:pt>
                <c:pt idx="40">
                  <c:v>99</c:v>
                </c:pt>
                <c:pt idx="41">
                  <c:v>99</c:v>
                </c:pt>
                <c:pt idx="42">
                  <c:v>99</c:v>
                </c:pt>
                <c:pt idx="43">
                  <c:v>99</c:v>
                </c:pt>
                <c:pt idx="44">
                  <c:v>99</c:v>
                </c:pt>
                <c:pt idx="45">
                  <c:v>99</c:v>
                </c:pt>
                <c:pt idx="46">
                  <c:v>99</c:v>
                </c:pt>
                <c:pt idx="47">
                  <c:v>99</c:v>
                </c:pt>
                <c:pt idx="48">
                  <c:v>99</c:v>
                </c:pt>
                <c:pt idx="49">
                  <c:v>99</c:v>
                </c:pt>
                <c:pt idx="50">
                  <c:v>99</c:v>
                </c:pt>
                <c:pt idx="51">
                  <c:v>99</c:v>
                </c:pt>
                <c:pt idx="52">
                  <c:v>99</c:v>
                </c:pt>
                <c:pt idx="53">
                  <c:v>99</c:v>
                </c:pt>
                <c:pt idx="54">
                  <c:v>99</c:v>
                </c:pt>
                <c:pt idx="55">
                  <c:v>99</c:v>
                </c:pt>
                <c:pt idx="56">
                  <c:v>99</c:v>
                </c:pt>
                <c:pt idx="57">
                  <c:v>99</c:v>
                </c:pt>
                <c:pt idx="58">
                  <c:v>99</c:v>
                </c:pt>
                <c:pt idx="59">
                  <c:v>99</c:v>
                </c:pt>
                <c:pt idx="60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A4-4E6D-8C4A-302631E1F5F5}"/>
            </c:ext>
          </c:extLst>
        </c:ser>
        <c:ser>
          <c:idx val="2"/>
          <c:order val="2"/>
          <c:tx>
            <c:v>  Normal konjunktur - övre gräns</c:v>
          </c:tx>
          <c:spPr>
            <a:ln w="12700" cap="rnd">
              <a:solidFill>
                <a:srgbClr val="7DB094"/>
              </a:solidFill>
              <a:round/>
            </a:ln>
            <a:effectLst/>
          </c:spPr>
          <c:marker>
            <c:symbol val="none"/>
          </c:marker>
          <c:cat>
            <c:strRef>
              <c:f>'Masterfil BI'!$A$33:$A$93</c:f>
              <c:strCache>
                <c:ptCount val="61"/>
                <c:pt idx="0">
                  <c:v>2006 kvartal 2</c:v>
                </c:pt>
                <c:pt idx="1">
                  <c:v>2006 kvartal 3</c:v>
                </c:pt>
                <c:pt idx="2">
                  <c:v>2006 kvartal 4</c:v>
                </c:pt>
                <c:pt idx="3">
                  <c:v>2007 kvartal 1</c:v>
                </c:pt>
                <c:pt idx="4">
                  <c:v>2007 kvartal 2</c:v>
                </c:pt>
                <c:pt idx="5">
                  <c:v>2007 kvartal 3</c:v>
                </c:pt>
                <c:pt idx="6">
                  <c:v>2007 kvartal 4</c:v>
                </c:pt>
                <c:pt idx="7">
                  <c:v>2008 kvartal 1</c:v>
                </c:pt>
                <c:pt idx="8">
                  <c:v>2008 kvartal 2</c:v>
                </c:pt>
                <c:pt idx="9">
                  <c:v>2008 kvartal 3</c:v>
                </c:pt>
                <c:pt idx="10">
                  <c:v>2008 kvartal 4</c:v>
                </c:pt>
                <c:pt idx="11">
                  <c:v>2009 kvartal 1</c:v>
                </c:pt>
                <c:pt idx="12">
                  <c:v>2009 kvartal 2</c:v>
                </c:pt>
                <c:pt idx="13">
                  <c:v>2009 kvartal 3</c:v>
                </c:pt>
                <c:pt idx="14">
                  <c:v>2009 kvartal 4</c:v>
                </c:pt>
                <c:pt idx="15">
                  <c:v>2010 kvartal 1</c:v>
                </c:pt>
                <c:pt idx="16">
                  <c:v>2010 kvartal 2</c:v>
                </c:pt>
                <c:pt idx="17">
                  <c:v>2010 kvartal 3</c:v>
                </c:pt>
                <c:pt idx="18">
                  <c:v>2010 kvartal 4</c:v>
                </c:pt>
                <c:pt idx="19">
                  <c:v>2011 kvartal 1</c:v>
                </c:pt>
                <c:pt idx="20">
                  <c:v>2011 kvartal 2</c:v>
                </c:pt>
                <c:pt idx="21">
                  <c:v>2011 kvartal 3</c:v>
                </c:pt>
                <c:pt idx="22">
                  <c:v>2011 kvartal 4</c:v>
                </c:pt>
                <c:pt idx="23">
                  <c:v>2012 kvartal 1</c:v>
                </c:pt>
                <c:pt idx="24">
                  <c:v>2012 kvartal 2</c:v>
                </c:pt>
                <c:pt idx="25">
                  <c:v>2012 kvartal 3</c:v>
                </c:pt>
                <c:pt idx="26">
                  <c:v>2012 kvartal 4</c:v>
                </c:pt>
                <c:pt idx="27">
                  <c:v>2013 kvartal 1</c:v>
                </c:pt>
                <c:pt idx="28">
                  <c:v>2013 kvartal 2</c:v>
                </c:pt>
                <c:pt idx="29">
                  <c:v>2013 kvartal 3</c:v>
                </c:pt>
                <c:pt idx="30">
                  <c:v>2013 kvartal 4</c:v>
                </c:pt>
                <c:pt idx="31">
                  <c:v>2014 kvartal 1</c:v>
                </c:pt>
                <c:pt idx="32">
                  <c:v>2014 kvartal 2</c:v>
                </c:pt>
                <c:pt idx="33">
                  <c:v>2014 kvartal 3</c:v>
                </c:pt>
                <c:pt idx="34">
                  <c:v>2014 kvartal 4</c:v>
                </c:pt>
                <c:pt idx="35">
                  <c:v>2015 kvartal 1</c:v>
                </c:pt>
                <c:pt idx="36">
                  <c:v>2015 kvartal 2</c:v>
                </c:pt>
                <c:pt idx="37">
                  <c:v>2015 kvartal 3</c:v>
                </c:pt>
                <c:pt idx="38">
                  <c:v>2015 kvartal 4</c:v>
                </c:pt>
                <c:pt idx="39">
                  <c:v>2016 kvartal 1</c:v>
                </c:pt>
                <c:pt idx="40">
                  <c:v>2016 kvartal 2</c:v>
                </c:pt>
                <c:pt idx="41">
                  <c:v>2016 kvartal 3</c:v>
                </c:pt>
                <c:pt idx="42">
                  <c:v>2016 kvartal 4</c:v>
                </c:pt>
                <c:pt idx="43">
                  <c:v>2017 kvartal 1</c:v>
                </c:pt>
                <c:pt idx="44">
                  <c:v>2017 kvartal 2</c:v>
                </c:pt>
                <c:pt idx="45">
                  <c:v>2017 kvartal 3</c:v>
                </c:pt>
                <c:pt idx="46">
                  <c:v>2017 kvartal 4</c:v>
                </c:pt>
                <c:pt idx="47">
                  <c:v>2018 kvartal 1</c:v>
                </c:pt>
                <c:pt idx="48">
                  <c:v>2018 kvartal 2</c:v>
                </c:pt>
                <c:pt idx="49">
                  <c:v>2018 kvartal 3</c:v>
                </c:pt>
                <c:pt idx="50">
                  <c:v>2018 kvartal 4</c:v>
                </c:pt>
                <c:pt idx="51">
                  <c:v>2019 kvartal 1</c:v>
                </c:pt>
                <c:pt idx="52">
                  <c:v>2019 kvartal 2</c:v>
                </c:pt>
                <c:pt idx="53">
                  <c:v>2019 kvartal 3</c:v>
                </c:pt>
                <c:pt idx="54">
                  <c:v>2019 kvartal 4</c:v>
                </c:pt>
                <c:pt idx="55">
                  <c:v>2020 kvartal 1</c:v>
                </c:pt>
                <c:pt idx="56">
                  <c:v>2020 kvartal 2</c:v>
                </c:pt>
                <c:pt idx="57">
                  <c:v>2020 kvartal 3</c:v>
                </c:pt>
                <c:pt idx="58">
                  <c:v>2020 kvartal 4</c:v>
                </c:pt>
                <c:pt idx="59">
                  <c:v>2021 kvartal 1</c:v>
                </c:pt>
                <c:pt idx="60">
                  <c:v>2021 kvartal 2</c:v>
                </c:pt>
              </c:strCache>
            </c:strRef>
          </c:cat>
          <c:val>
            <c:numRef>
              <c:f>'Masterfil BI'!$H$33:$H$93</c:f>
              <c:numCache>
                <c:formatCode>0.0</c:formatCode>
                <c:ptCount val="61"/>
                <c:pt idx="0">
                  <c:v>101</c:v>
                </c:pt>
                <c:pt idx="1">
                  <c:v>101</c:v>
                </c:pt>
                <c:pt idx="2">
                  <c:v>101</c:v>
                </c:pt>
                <c:pt idx="3">
                  <c:v>101</c:v>
                </c:pt>
                <c:pt idx="4">
                  <c:v>101</c:v>
                </c:pt>
                <c:pt idx="5">
                  <c:v>101</c:v>
                </c:pt>
                <c:pt idx="6">
                  <c:v>101</c:v>
                </c:pt>
                <c:pt idx="7">
                  <c:v>101</c:v>
                </c:pt>
                <c:pt idx="8">
                  <c:v>101</c:v>
                </c:pt>
                <c:pt idx="9">
                  <c:v>101</c:v>
                </c:pt>
                <c:pt idx="10">
                  <c:v>101</c:v>
                </c:pt>
                <c:pt idx="11">
                  <c:v>101</c:v>
                </c:pt>
                <c:pt idx="12">
                  <c:v>101</c:v>
                </c:pt>
                <c:pt idx="13">
                  <c:v>101</c:v>
                </c:pt>
                <c:pt idx="14">
                  <c:v>101</c:v>
                </c:pt>
                <c:pt idx="15">
                  <c:v>101</c:v>
                </c:pt>
                <c:pt idx="16">
                  <c:v>101</c:v>
                </c:pt>
                <c:pt idx="17">
                  <c:v>101</c:v>
                </c:pt>
                <c:pt idx="18">
                  <c:v>101</c:v>
                </c:pt>
                <c:pt idx="19">
                  <c:v>101</c:v>
                </c:pt>
                <c:pt idx="20">
                  <c:v>101</c:v>
                </c:pt>
                <c:pt idx="21">
                  <c:v>101</c:v>
                </c:pt>
                <c:pt idx="22">
                  <c:v>101</c:v>
                </c:pt>
                <c:pt idx="23">
                  <c:v>101</c:v>
                </c:pt>
                <c:pt idx="24">
                  <c:v>101</c:v>
                </c:pt>
                <c:pt idx="25">
                  <c:v>101</c:v>
                </c:pt>
                <c:pt idx="26">
                  <c:v>101</c:v>
                </c:pt>
                <c:pt idx="27">
                  <c:v>101</c:v>
                </c:pt>
                <c:pt idx="28">
                  <c:v>101</c:v>
                </c:pt>
                <c:pt idx="29">
                  <c:v>101</c:v>
                </c:pt>
                <c:pt idx="30">
                  <c:v>101</c:v>
                </c:pt>
                <c:pt idx="31">
                  <c:v>101</c:v>
                </c:pt>
                <c:pt idx="32">
                  <c:v>101</c:v>
                </c:pt>
                <c:pt idx="33">
                  <c:v>101</c:v>
                </c:pt>
                <c:pt idx="34">
                  <c:v>101</c:v>
                </c:pt>
                <c:pt idx="35">
                  <c:v>101</c:v>
                </c:pt>
                <c:pt idx="36">
                  <c:v>101</c:v>
                </c:pt>
                <c:pt idx="37">
                  <c:v>101</c:v>
                </c:pt>
                <c:pt idx="38">
                  <c:v>101</c:v>
                </c:pt>
                <c:pt idx="39">
                  <c:v>101</c:v>
                </c:pt>
                <c:pt idx="40">
                  <c:v>101</c:v>
                </c:pt>
                <c:pt idx="41">
                  <c:v>101</c:v>
                </c:pt>
                <c:pt idx="42">
                  <c:v>101</c:v>
                </c:pt>
                <c:pt idx="43">
                  <c:v>101</c:v>
                </c:pt>
                <c:pt idx="44">
                  <c:v>101</c:v>
                </c:pt>
                <c:pt idx="45">
                  <c:v>101</c:v>
                </c:pt>
                <c:pt idx="46">
                  <c:v>101</c:v>
                </c:pt>
                <c:pt idx="47">
                  <c:v>101</c:v>
                </c:pt>
                <c:pt idx="48">
                  <c:v>101</c:v>
                </c:pt>
                <c:pt idx="49">
                  <c:v>101</c:v>
                </c:pt>
                <c:pt idx="50">
                  <c:v>101</c:v>
                </c:pt>
                <c:pt idx="51">
                  <c:v>101</c:v>
                </c:pt>
                <c:pt idx="52">
                  <c:v>101</c:v>
                </c:pt>
                <c:pt idx="53">
                  <c:v>101</c:v>
                </c:pt>
                <c:pt idx="54">
                  <c:v>101</c:v>
                </c:pt>
                <c:pt idx="55">
                  <c:v>101</c:v>
                </c:pt>
                <c:pt idx="56">
                  <c:v>101</c:v>
                </c:pt>
                <c:pt idx="57">
                  <c:v>101</c:v>
                </c:pt>
                <c:pt idx="58">
                  <c:v>101</c:v>
                </c:pt>
                <c:pt idx="59">
                  <c:v>101</c:v>
                </c:pt>
                <c:pt idx="60">
                  <c:v>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A4-4E6D-8C4A-302631E1F5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07982752"/>
        <c:axId val="2107036784"/>
      </c:lineChart>
      <c:catAx>
        <c:axId val="210798275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2107036784"/>
        <c:crosses val="autoZero"/>
        <c:auto val="1"/>
        <c:lblAlgn val="ctr"/>
        <c:lblOffset val="100"/>
        <c:tickLblSkip val="4"/>
        <c:noMultiLvlLbl val="0"/>
      </c:catAx>
      <c:valAx>
        <c:axId val="2107036784"/>
        <c:scaling>
          <c:orientation val="minMax"/>
          <c:min val="50"/>
        </c:scaling>
        <c:delete val="0"/>
        <c:axPos val="l"/>
        <c:numFmt formatCode="0" sourceLinked="0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2107982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2535840943683409"/>
          <c:y val="0.56193829623560754"/>
          <c:w val="0.54738123132532313"/>
          <c:h val="0.109276352548650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458179292620175E-2"/>
          <c:y val="3.8999691358024696E-2"/>
          <c:w val="0.88576502057613171"/>
          <c:h val="0.69000519097146218"/>
        </c:manualLayout>
      </c:layout>
      <c:lineChart>
        <c:grouping val="standard"/>
        <c:varyColors val="0"/>
        <c:ser>
          <c:idx val="0"/>
          <c:order val="0"/>
          <c:tx>
            <c:v>  Konjunkturindikator för handel - Göteborgsregionen</c:v>
          </c:tx>
          <c:spPr>
            <a:ln w="571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60"/>
              <c:layout>
                <c:manualLayout>
                  <c:x val="0"/>
                  <c:y val="-3.3403837934397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61-447E-BDA9-CA9FC48AC6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sterfil BI'!$A$33:$A$93</c:f>
              <c:strCache>
                <c:ptCount val="61"/>
                <c:pt idx="0">
                  <c:v>2006 kvartal 2</c:v>
                </c:pt>
                <c:pt idx="1">
                  <c:v>2006 kvartal 3</c:v>
                </c:pt>
                <c:pt idx="2">
                  <c:v>2006 kvartal 4</c:v>
                </c:pt>
                <c:pt idx="3">
                  <c:v>2007 kvartal 1</c:v>
                </c:pt>
                <c:pt idx="4">
                  <c:v>2007 kvartal 2</c:v>
                </c:pt>
                <c:pt idx="5">
                  <c:v>2007 kvartal 3</c:v>
                </c:pt>
                <c:pt idx="6">
                  <c:v>2007 kvartal 4</c:v>
                </c:pt>
                <c:pt idx="7">
                  <c:v>2008 kvartal 1</c:v>
                </c:pt>
                <c:pt idx="8">
                  <c:v>2008 kvartal 2</c:v>
                </c:pt>
                <c:pt idx="9">
                  <c:v>2008 kvartal 3</c:v>
                </c:pt>
                <c:pt idx="10">
                  <c:v>2008 kvartal 4</c:v>
                </c:pt>
                <c:pt idx="11">
                  <c:v>2009 kvartal 1</c:v>
                </c:pt>
                <c:pt idx="12">
                  <c:v>2009 kvartal 2</c:v>
                </c:pt>
                <c:pt idx="13">
                  <c:v>2009 kvartal 3</c:v>
                </c:pt>
                <c:pt idx="14">
                  <c:v>2009 kvartal 4</c:v>
                </c:pt>
                <c:pt idx="15">
                  <c:v>2010 kvartal 1</c:v>
                </c:pt>
                <c:pt idx="16">
                  <c:v>2010 kvartal 2</c:v>
                </c:pt>
                <c:pt idx="17">
                  <c:v>2010 kvartal 3</c:v>
                </c:pt>
                <c:pt idx="18">
                  <c:v>2010 kvartal 4</c:v>
                </c:pt>
                <c:pt idx="19">
                  <c:v>2011 kvartal 1</c:v>
                </c:pt>
                <c:pt idx="20">
                  <c:v>2011 kvartal 2</c:v>
                </c:pt>
                <c:pt idx="21">
                  <c:v>2011 kvartal 3</c:v>
                </c:pt>
                <c:pt idx="22">
                  <c:v>2011 kvartal 4</c:v>
                </c:pt>
                <c:pt idx="23">
                  <c:v>2012 kvartal 1</c:v>
                </c:pt>
                <c:pt idx="24">
                  <c:v>2012 kvartal 2</c:v>
                </c:pt>
                <c:pt idx="25">
                  <c:v>2012 kvartal 3</c:v>
                </c:pt>
                <c:pt idx="26">
                  <c:v>2012 kvartal 4</c:v>
                </c:pt>
                <c:pt idx="27">
                  <c:v>2013 kvartal 1</c:v>
                </c:pt>
                <c:pt idx="28">
                  <c:v>2013 kvartal 2</c:v>
                </c:pt>
                <c:pt idx="29">
                  <c:v>2013 kvartal 3</c:v>
                </c:pt>
                <c:pt idx="30">
                  <c:v>2013 kvartal 4</c:v>
                </c:pt>
                <c:pt idx="31">
                  <c:v>2014 kvartal 1</c:v>
                </c:pt>
                <c:pt idx="32">
                  <c:v>2014 kvartal 2</c:v>
                </c:pt>
                <c:pt idx="33">
                  <c:v>2014 kvartal 3</c:v>
                </c:pt>
                <c:pt idx="34">
                  <c:v>2014 kvartal 4</c:v>
                </c:pt>
                <c:pt idx="35">
                  <c:v>2015 kvartal 1</c:v>
                </c:pt>
                <c:pt idx="36">
                  <c:v>2015 kvartal 2</c:v>
                </c:pt>
                <c:pt idx="37">
                  <c:v>2015 kvartal 3</c:v>
                </c:pt>
                <c:pt idx="38">
                  <c:v>2015 kvartal 4</c:v>
                </c:pt>
                <c:pt idx="39">
                  <c:v>2016 kvartal 1</c:v>
                </c:pt>
                <c:pt idx="40">
                  <c:v>2016 kvartal 2</c:v>
                </c:pt>
                <c:pt idx="41">
                  <c:v>2016 kvartal 3</c:v>
                </c:pt>
                <c:pt idx="42">
                  <c:v>2016 kvartal 4</c:v>
                </c:pt>
                <c:pt idx="43">
                  <c:v>2017 kvartal 1</c:v>
                </c:pt>
                <c:pt idx="44">
                  <c:v>2017 kvartal 2</c:v>
                </c:pt>
                <c:pt idx="45">
                  <c:v>2017 kvartal 3</c:v>
                </c:pt>
                <c:pt idx="46">
                  <c:v>2017 kvartal 4</c:v>
                </c:pt>
                <c:pt idx="47">
                  <c:v>2018 kvartal 1</c:v>
                </c:pt>
                <c:pt idx="48">
                  <c:v>2018 kvartal 2</c:v>
                </c:pt>
                <c:pt idx="49">
                  <c:v>2018 kvartal 3</c:v>
                </c:pt>
                <c:pt idx="50">
                  <c:v>2018 kvartal 4</c:v>
                </c:pt>
                <c:pt idx="51">
                  <c:v>2019 kvartal 1</c:v>
                </c:pt>
                <c:pt idx="52">
                  <c:v>2019 kvartal 2</c:v>
                </c:pt>
                <c:pt idx="53">
                  <c:v>2019 kvartal 3</c:v>
                </c:pt>
                <c:pt idx="54">
                  <c:v>2019 kvartal 4</c:v>
                </c:pt>
                <c:pt idx="55">
                  <c:v>2020 kvartal 1</c:v>
                </c:pt>
                <c:pt idx="56">
                  <c:v>2020 kvartal 2</c:v>
                </c:pt>
                <c:pt idx="57">
                  <c:v>2020 kvartal 3</c:v>
                </c:pt>
                <c:pt idx="58">
                  <c:v>2020 kvartal 4</c:v>
                </c:pt>
                <c:pt idx="59">
                  <c:v>2021 kvartal 1</c:v>
                </c:pt>
                <c:pt idx="60">
                  <c:v>2021 kvartal 2</c:v>
                </c:pt>
              </c:strCache>
            </c:strRef>
          </c:cat>
          <c:val>
            <c:numRef>
              <c:f>'Masterfil BI'!$E$33:$E$93</c:f>
              <c:numCache>
                <c:formatCode>0.0</c:formatCode>
                <c:ptCount val="61"/>
                <c:pt idx="0">
                  <c:v>108.76056345159978</c:v>
                </c:pt>
                <c:pt idx="1">
                  <c:v>111.70279843962682</c:v>
                </c:pt>
                <c:pt idx="2">
                  <c:v>107.97704095922336</c:v>
                </c:pt>
                <c:pt idx="3">
                  <c:v>108.27883026163643</c:v>
                </c:pt>
                <c:pt idx="4">
                  <c:v>102.90574392573183</c:v>
                </c:pt>
                <c:pt idx="5">
                  <c:v>103.51842437247919</c:v>
                </c:pt>
                <c:pt idx="6">
                  <c:v>91.670402977307575</c:v>
                </c:pt>
                <c:pt idx="7">
                  <c:v>97.653330542478756</c:v>
                </c:pt>
                <c:pt idx="8">
                  <c:v>89.832094265631881</c:v>
                </c:pt>
                <c:pt idx="9">
                  <c:v>79.182301629950828</c:v>
                </c:pt>
                <c:pt idx="10">
                  <c:v>71.90048621803524</c:v>
                </c:pt>
                <c:pt idx="11">
                  <c:v>67.953223305966986</c:v>
                </c:pt>
                <c:pt idx="12">
                  <c:v>78.044743189194833</c:v>
                </c:pt>
                <c:pt idx="13">
                  <c:v>91.88215836337163</c:v>
                </c:pt>
                <c:pt idx="14">
                  <c:v>104.67090651640373</c:v>
                </c:pt>
                <c:pt idx="15">
                  <c:v>103.41966944645488</c:v>
                </c:pt>
                <c:pt idx="16">
                  <c:v>106.48869658528804</c:v>
                </c:pt>
                <c:pt idx="17">
                  <c:v>105.75908749414758</c:v>
                </c:pt>
                <c:pt idx="18">
                  <c:v>104.69350271218407</c:v>
                </c:pt>
                <c:pt idx="19">
                  <c:v>100.61242336037748</c:v>
                </c:pt>
                <c:pt idx="20">
                  <c:v>92.652043075603061</c:v>
                </c:pt>
                <c:pt idx="21">
                  <c:v>89.03829746912298</c:v>
                </c:pt>
                <c:pt idx="22">
                  <c:v>86.986650111452462</c:v>
                </c:pt>
                <c:pt idx="23">
                  <c:v>94.328641549044434</c:v>
                </c:pt>
                <c:pt idx="24">
                  <c:v>97.219802353316283</c:v>
                </c:pt>
                <c:pt idx="25">
                  <c:v>94.296151881377526</c:v>
                </c:pt>
                <c:pt idx="26">
                  <c:v>92.869947625295268</c:v>
                </c:pt>
                <c:pt idx="27">
                  <c:v>88.79624342919324</c:v>
                </c:pt>
                <c:pt idx="28">
                  <c:v>95.658579229810812</c:v>
                </c:pt>
                <c:pt idx="29">
                  <c:v>102.41464152241367</c:v>
                </c:pt>
                <c:pt idx="30">
                  <c:v>104.81250890956613</c:v>
                </c:pt>
                <c:pt idx="31">
                  <c:v>109.71375552739397</c:v>
                </c:pt>
                <c:pt idx="32">
                  <c:v>110.8163659152482</c:v>
                </c:pt>
                <c:pt idx="33">
                  <c:v>110.63396364246307</c:v>
                </c:pt>
                <c:pt idx="34">
                  <c:v>112.76056730269269</c:v>
                </c:pt>
                <c:pt idx="35">
                  <c:v>112.28910841686184</c:v>
                </c:pt>
                <c:pt idx="36">
                  <c:v>111.95807946198208</c:v>
                </c:pt>
                <c:pt idx="37">
                  <c:v>111.42281370302869</c:v>
                </c:pt>
                <c:pt idx="38">
                  <c:v>111.25484084035396</c:v>
                </c:pt>
                <c:pt idx="39">
                  <c:v>107.48503346512753</c:v>
                </c:pt>
                <c:pt idx="40">
                  <c:v>106.51378113177681</c:v>
                </c:pt>
                <c:pt idx="41">
                  <c:v>98.573127859828389</c:v>
                </c:pt>
                <c:pt idx="42">
                  <c:v>96.42105882086409</c:v>
                </c:pt>
                <c:pt idx="43">
                  <c:v>101.39102908228418</c:v>
                </c:pt>
                <c:pt idx="44">
                  <c:v>99.702489549440855</c:v>
                </c:pt>
                <c:pt idx="45">
                  <c:v>101.785454112567</c:v>
                </c:pt>
                <c:pt idx="46">
                  <c:v>103.3722560756194</c:v>
                </c:pt>
                <c:pt idx="47">
                  <c:v>99.132686535305169</c:v>
                </c:pt>
                <c:pt idx="48">
                  <c:v>98.388267201808418</c:v>
                </c:pt>
                <c:pt idx="49">
                  <c:v>98.58302133171496</c:v>
                </c:pt>
                <c:pt idx="50">
                  <c:v>96.565149564734924</c:v>
                </c:pt>
                <c:pt idx="51">
                  <c:v>100.30038971930549</c:v>
                </c:pt>
                <c:pt idx="52">
                  <c:v>99.385128340179662</c:v>
                </c:pt>
                <c:pt idx="53">
                  <c:v>96.720800535761796</c:v>
                </c:pt>
                <c:pt idx="54">
                  <c:v>105.1798018058448</c:v>
                </c:pt>
                <c:pt idx="55">
                  <c:v>85.415099153949384</c:v>
                </c:pt>
                <c:pt idx="56">
                  <c:v>90.706699191420824</c:v>
                </c:pt>
                <c:pt idx="57">
                  <c:v>103.8264762993327</c:v>
                </c:pt>
                <c:pt idx="58">
                  <c:v>98.07751948376</c:v>
                </c:pt>
                <c:pt idx="59">
                  <c:v>109.39885270336765</c:v>
                </c:pt>
                <c:pt idx="60">
                  <c:v>115.592897935258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B61-447E-BDA9-CA9FC48AC6F1}"/>
            </c:ext>
          </c:extLst>
        </c:ser>
        <c:ser>
          <c:idx val="1"/>
          <c:order val="1"/>
          <c:tx>
            <c:v>  Normal konjunktur - nedre gräns</c:v>
          </c:tx>
          <c:spPr>
            <a:ln w="12700" cap="rnd">
              <a:solidFill>
                <a:srgbClr val="7DB094"/>
              </a:solidFill>
              <a:round/>
            </a:ln>
            <a:effectLst/>
          </c:spPr>
          <c:marker>
            <c:symbol val="none"/>
          </c:marker>
          <c:dLbls>
            <c:dLbl>
              <c:idx val="38"/>
              <c:layout>
                <c:manualLayout>
                  <c:x val="-0.13323765432098775"/>
                  <c:y val="0.17938083593403081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Intervall</a:t>
                    </a:r>
                    <a:r>
                      <a:rPr lang="en-US" baseline="0">
                        <a:solidFill>
                          <a:schemeClr val="tx1"/>
                        </a:solidFill>
                      </a:rPr>
                      <a:t> för normal konjunktur</a:t>
                    </a:r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771008230452673"/>
                      <c:h val="0.1484094988523574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CB61-447E-BDA9-CA9FC48AC6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7DB094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sterfil BI'!$A$33:$A$93</c:f>
              <c:strCache>
                <c:ptCount val="61"/>
                <c:pt idx="0">
                  <c:v>2006 kvartal 2</c:v>
                </c:pt>
                <c:pt idx="1">
                  <c:v>2006 kvartal 3</c:v>
                </c:pt>
                <c:pt idx="2">
                  <c:v>2006 kvartal 4</c:v>
                </c:pt>
                <c:pt idx="3">
                  <c:v>2007 kvartal 1</c:v>
                </c:pt>
                <c:pt idx="4">
                  <c:v>2007 kvartal 2</c:v>
                </c:pt>
                <c:pt idx="5">
                  <c:v>2007 kvartal 3</c:v>
                </c:pt>
                <c:pt idx="6">
                  <c:v>2007 kvartal 4</c:v>
                </c:pt>
                <c:pt idx="7">
                  <c:v>2008 kvartal 1</c:v>
                </c:pt>
                <c:pt idx="8">
                  <c:v>2008 kvartal 2</c:v>
                </c:pt>
                <c:pt idx="9">
                  <c:v>2008 kvartal 3</c:v>
                </c:pt>
                <c:pt idx="10">
                  <c:v>2008 kvartal 4</c:v>
                </c:pt>
                <c:pt idx="11">
                  <c:v>2009 kvartal 1</c:v>
                </c:pt>
                <c:pt idx="12">
                  <c:v>2009 kvartal 2</c:v>
                </c:pt>
                <c:pt idx="13">
                  <c:v>2009 kvartal 3</c:v>
                </c:pt>
                <c:pt idx="14">
                  <c:v>2009 kvartal 4</c:v>
                </c:pt>
                <c:pt idx="15">
                  <c:v>2010 kvartal 1</c:v>
                </c:pt>
                <c:pt idx="16">
                  <c:v>2010 kvartal 2</c:v>
                </c:pt>
                <c:pt idx="17">
                  <c:v>2010 kvartal 3</c:v>
                </c:pt>
                <c:pt idx="18">
                  <c:v>2010 kvartal 4</c:v>
                </c:pt>
                <c:pt idx="19">
                  <c:v>2011 kvartal 1</c:v>
                </c:pt>
                <c:pt idx="20">
                  <c:v>2011 kvartal 2</c:v>
                </c:pt>
                <c:pt idx="21">
                  <c:v>2011 kvartal 3</c:v>
                </c:pt>
                <c:pt idx="22">
                  <c:v>2011 kvartal 4</c:v>
                </c:pt>
                <c:pt idx="23">
                  <c:v>2012 kvartal 1</c:v>
                </c:pt>
                <c:pt idx="24">
                  <c:v>2012 kvartal 2</c:v>
                </c:pt>
                <c:pt idx="25">
                  <c:v>2012 kvartal 3</c:v>
                </c:pt>
                <c:pt idx="26">
                  <c:v>2012 kvartal 4</c:v>
                </c:pt>
                <c:pt idx="27">
                  <c:v>2013 kvartal 1</c:v>
                </c:pt>
                <c:pt idx="28">
                  <c:v>2013 kvartal 2</c:v>
                </c:pt>
                <c:pt idx="29">
                  <c:v>2013 kvartal 3</c:v>
                </c:pt>
                <c:pt idx="30">
                  <c:v>2013 kvartal 4</c:v>
                </c:pt>
                <c:pt idx="31">
                  <c:v>2014 kvartal 1</c:v>
                </c:pt>
                <c:pt idx="32">
                  <c:v>2014 kvartal 2</c:v>
                </c:pt>
                <c:pt idx="33">
                  <c:v>2014 kvartal 3</c:v>
                </c:pt>
                <c:pt idx="34">
                  <c:v>2014 kvartal 4</c:v>
                </c:pt>
                <c:pt idx="35">
                  <c:v>2015 kvartal 1</c:v>
                </c:pt>
                <c:pt idx="36">
                  <c:v>2015 kvartal 2</c:v>
                </c:pt>
                <c:pt idx="37">
                  <c:v>2015 kvartal 3</c:v>
                </c:pt>
                <c:pt idx="38">
                  <c:v>2015 kvartal 4</c:v>
                </c:pt>
                <c:pt idx="39">
                  <c:v>2016 kvartal 1</c:v>
                </c:pt>
                <c:pt idx="40">
                  <c:v>2016 kvartal 2</c:v>
                </c:pt>
                <c:pt idx="41">
                  <c:v>2016 kvartal 3</c:v>
                </c:pt>
                <c:pt idx="42">
                  <c:v>2016 kvartal 4</c:v>
                </c:pt>
                <c:pt idx="43">
                  <c:v>2017 kvartal 1</c:v>
                </c:pt>
                <c:pt idx="44">
                  <c:v>2017 kvartal 2</c:v>
                </c:pt>
                <c:pt idx="45">
                  <c:v>2017 kvartal 3</c:v>
                </c:pt>
                <c:pt idx="46">
                  <c:v>2017 kvartal 4</c:v>
                </c:pt>
                <c:pt idx="47">
                  <c:v>2018 kvartal 1</c:v>
                </c:pt>
                <c:pt idx="48">
                  <c:v>2018 kvartal 2</c:v>
                </c:pt>
                <c:pt idx="49">
                  <c:v>2018 kvartal 3</c:v>
                </c:pt>
                <c:pt idx="50">
                  <c:v>2018 kvartal 4</c:v>
                </c:pt>
                <c:pt idx="51">
                  <c:v>2019 kvartal 1</c:v>
                </c:pt>
                <c:pt idx="52">
                  <c:v>2019 kvartal 2</c:v>
                </c:pt>
                <c:pt idx="53">
                  <c:v>2019 kvartal 3</c:v>
                </c:pt>
                <c:pt idx="54">
                  <c:v>2019 kvartal 4</c:v>
                </c:pt>
                <c:pt idx="55">
                  <c:v>2020 kvartal 1</c:v>
                </c:pt>
                <c:pt idx="56">
                  <c:v>2020 kvartal 2</c:v>
                </c:pt>
                <c:pt idx="57">
                  <c:v>2020 kvartal 3</c:v>
                </c:pt>
                <c:pt idx="58">
                  <c:v>2020 kvartal 4</c:v>
                </c:pt>
                <c:pt idx="59">
                  <c:v>2021 kvartal 1</c:v>
                </c:pt>
                <c:pt idx="60">
                  <c:v>2021 kvartal 2</c:v>
                </c:pt>
              </c:strCache>
            </c:strRef>
          </c:cat>
          <c:val>
            <c:numRef>
              <c:f>'Masterfil BI'!$G$33:$G$93</c:f>
              <c:numCache>
                <c:formatCode>0.0</c:formatCode>
                <c:ptCount val="61"/>
                <c:pt idx="0">
                  <c:v>99</c:v>
                </c:pt>
                <c:pt idx="1">
                  <c:v>99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  <c:pt idx="5">
                  <c:v>99</c:v>
                </c:pt>
                <c:pt idx="6">
                  <c:v>99</c:v>
                </c:pt>
                <c:pt idx="7">
                  <c:v>99</c:v>
                </c:pt>
                <c:pt idx="8">
                  <c:v>99</c:v>
                </c:pt>
                <c:pt idx="9">
                  <c:v>99</c:v>
                </c:pt>
                <c:pt idx="10">
                  <c:v>99</c:v>
                </c:pt>
                <c:pt idx="11">
                  <c:v>99</c:v>
                </c:pt>
                <c:pt idx="12">
                  <c:v>99</c:v>
                </c:pt>
                <c:pt idx="13">
                  <c:v>99</c:v>
                </c:pt>
                <c:pt idx="14">
                  <c:v>99</c:v>
                </c:pt>
                <c:pt idx="15">
                  <c:v>99</c:v>
                </c:pt>
                <c:pt idx="16">
                  <c:v>99</c:v>
                </c:pt>
                <c:pt idx="17">
                  <c:v>99</c:v>
                </c:pt>
                <c:pt idx="18">
                  <c:v>99</c:v>
                </c:pt>
                <c:pt idx="19">
                  <c:v>99</c:v>
                </c:pt>
                <c:pt idx="20">
                  <c:v>99</c:v>
                </c:pt>
                <c:pt idx="21">
                  <c:v>99</c:v>
                </c:pt>
                <c:pt idx="22">
                  <c:v>99</c:v>
                </c:pt>
                <c:pt idx="23">
                  <c:v>99</c:v>
                </c:pt>
                <c:pt idx="24">
                  <c:v>99</c:v>
                </c:pt>
                <c:pt idx="25">
                  <c:v>99</c:v>
                </c:pt>
                <c:pt idx="26">
                  <c:v>99</c:v>
                </c:pt>
                <c:pt idx="27">
                  <c:v>99</c:v>
                </c:pt>
                <c:pt idx="28">
                  <c:v>99</c:v>
                </c:pt>
                <c:pt idx="29">
                  <c:v>99</c:v>
                </c:pt>
                <c:pt idx="30">
                  <c:v>99</c:v>
                </c:pt>
                <c:pt idx="31">
                  <c:v>99</c:v>
                </c:pt>
                <c:pt idx="32">
                  <c:v>99</c:v>
                </c:pt>
                <c:pt idx="33">
                  <c:v>99</c:v>
                </c:pt>
                <c:pt idx="34">
                  <c:v>99</c:v>
                </c:pt>
                <c:pt idx="35">
                  <c:v>99</c:v>
                </c:pt>
                <c:pt idx="36">
                  <c:v>99</c:v>
                </c:pt>
                <c:pt idx="37">
                  <c:v>99</c:v>
                </c:pt>
                <c:pt idx="38">
                  <c:v>99</c:v>
                </c:pt>
                <c:pt idx="39">
                  <c:v>99</c:v>
                </c:pt>
                <c:pt idx="40">
                  <c:v>99</c:v>
                </c:pt>
                <c:pt idx="41">
                  <c:v>99</c:v>
                </c:pt>
                <c:pt idx="42">
                  <c:v>99</c:v>
                </c:pt>
                <c:pt idx="43">
                  <c:v>99</c:v>
                </c:pt>
                <c:pt idx="44">
                  <c:v>99</c:v>
                </c:pt>
                <c:pt idx="45">
                  <c:v>99</c:v>
                </c:pt>
                <c:pt idx="46">
                  <c:v>99</c:v>
                </c:pt>
                <c:pt idx="47">
                  <c:v>99</c:v>
                </c:pt>
                <c:pt idx="48">
                  <c:v>99</c:v>
                </c:pt>
                <c:pt idx="49">
                  <c:v>99</c:v>
                </c:pt>
                <c:pt idx="50">
                  <c:v>99</c:v>
                </c:pt>
                <c:pt idx="51">
                  <c:v>99</c:v>
                </c:pt>
                <c:pt idx="52">
                  <c:v>99</c:v>
                </c:pt>
                <c:pt idx="53">
                  <c:v>99</c:v>
                </c:pt>
                <c:pt idx="54">
                  <c:v>99</c:v>
                </c:pt>
                <c:pt idx="55">
                  <c:v>99</c:v>
                </c:pt>
                <c:pt idx="56">
                  <c:v>99</c:v>
                </c:pt>
                <c:pt idx="57">
                  <c:v>99</c:v>
                </c:pt>
                <c:pt idx="58">
                  <c:v>99</c:v>
                </c:pt>
                <c:pt idx="59">
                  <c:v>99</c:v>
                </c:pt>
                <c:pt idx="60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B61-447E-BDA9-CA9FC48AC6F1}"/>
            </c:ext>
          </c:extLst>
        </c:ser>
        <c:ser>
          <c:idx val="2"/>
          <c:order val="2"/>
          <c:tx>
            <c:v>  Normal konjunktur - övre gräns</c:v>
          </c:tx>
          <c:spPr>
            <a:ln w="12700" cap="rnd">
              <a:solidFill>
                <a:srgbClr val="7DB094"/>
              </a:solidFill>
              <a:round/>
            </a:ln>
            <a:effectLst/>
          </c:spPr>
          <c:marker>
            <c:symbol val="none"/>
          </c:marker>
          <c:dLbls>
            <c:dLbl>
              <c:idx val="38"/>
              <c:layout>
                <c:manualLayout>
                  <c:x val="1.8348291284180751E-2"/>
                  <c:y val="9.731645407959643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CB61-447E-BDA9-CA9FC48AC6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Masterfil BI'!$A$33:$A$93</c:f>
              <c:strCache>
                <c:ptCount val="61"/>
                <c:pt idx="0">
                  <c:v>2006 kvartal 2</c:v>
                </c:pt>
                <c:pt idx="1">
                  <c:v>2006 kvartal 3</c:v>
                </c:pt>
                <c:pt idx="2">
                  <c:v>2006 kvartal 4</c:v>
                </c:pt>
                <c:pt idx="3">
                  <c:v>2007 kvartal 1</c:v>
                </c:pt>
                <c:pt idx="4">
                  <c:v>2007 kvartal 2</c:v>
                </c:pt>
                <c:pt idx="5">
                  <c:v>2007 kvartal 3</c:v>
                </c:pt>
                <c:pt idx="6">
                  <c:v>2007 kvartal 4</c:v>
                </c:pt>
                <c:pt idx="7">
                  <c:v>2008 kvartal 1</c:v>
                </c:pt>
                <c:pt idx="8">
                  <c:v>2008 kvartal 2</c:v>
                </c:pt>
                <c:pt idx="9">
                  <c:v>2008 kvartal 3</c:v>
                </c:pt>
                <c:pt idx="10">
                  <c:v>2008 kvartal 4</c:v>
                </c:pt>
                <c:pt idx="11">
                  <c:v>2009 kvartal 1</c:v>
                </c:pt>
                <c:pt idx="12">
                  <c:v>2009 kvartal 2</c:v>
                </c:pt>
                <c:pt idx="13">
                  <c:v>2009 kvartal 3</c:v>
                </c:pt>
                <c:pt idx="14">
                  <c:v>2009 kvartal 4</c:v>
                </c:pt>
                <c:pt idx="15">
                  <c:v>2010 kvartal 1</c:v>
                </c:pt>
                <c:pt idx="16">
                  <c:v>2010 kvartal 2</c:v>
                </c:pt>
                <c:pt idx="17">
                  <c:v>2010 kvartal 3</c:v>
                </c:pt>
                <c:pt idx="18">
                  <c:v>2010 kvartal 4</c:v>
                </c:pt>
                <c:pt idx="19">
                  <c:v>2011 kvartal 1</c:v>
                </c:pt>
                <c:pt idx="20">
                  <c:v>2011 kvartal 2</c:v>
                </c:pt>
                <c:pt idx="21">
                  <c:v>2011 kvartal 3</c:v>
                </c:pt>
                <c:pt idx="22">
                  <c:v>2011 kvartal 4</c:v>
                </c:pt>
                <c:pt idx="23">
                  <c:v>2012 kvartal 1</c:v>
                </c:pt>
                <c:pt idx="24">
                  <c:v>2012 kvartal 2</c:v>
                </c:pt>
                <c:pt idx="25">
                  <c:v>2012 kvartal 3</c:v>
                </c:pt>
                <c:pt idx="26">
                  <c:v>2012 kvartal 4</c:v>
                </c:pt>
                <c:pt idx="27">
                  <c:v>2013 kvartal 1</c:v>
                </c:pt>
                <c:pt idx="28">
                  <c:v>2013 kvartal 2</c:v>
                </c:pt>
                <c:pt idx="29">
                  <c:v>2013 kvartal 3</c:v>
                </c:pt>
                <c:pt idx="30">
                  <c:v>2013 kvartal 4</c:v>
                </c:pt>
                <c:pt idx="31">
                  <c:v>2014 kvartal 1</c:v>
                </c:pt>
                <c:pt idx="32">
                  <c:v>2014 kvartal 2</c:v>
                </c:pt>
                <c:pt idx="33">
                  <c:v>2014 kvartal 3</c:v>
                </c:pt>
                <c:pt idx="34">
                  <c:v>2014 kvartal 4</c:v>
                </c:pt>
                <c:pt idx="35">
                  <c:v>2015 kvartal 1</c:v>
                </c:pt>
                <c:pt idx="36">
                  <c:v>2015 kvartal 2</c:v>
                </c:pt>
                <c:pt idx="37">
                  <c:v>2015 kvartal 3</c:v>
                </c:pt>
                <c:pt idx="38">
                  <c:v>2015 kvartal 4</c:v>
                </c:pt>
                <c:pt idx="39">
                  <c:v>2016 kvartal 1</c:v>
                </c:pt>
                <c:pt idx="40">
                  <c:v>2016 kvartal 2</c:v>
                </c:pt>
                <c:pt idx="41">
                  <c:v>2016 kvartal 3</c:v>
                </c:pt>
                <c:pt idx="42">
                  <c:v>2016 kvartal 4</c:v>
                </c:pt>
                <c:pt idx="43">
                  <c:v>2017 kvartal 1</c:v>
                </c:pt>
                <c:pt idx="44">
                  <c:v>2017 kvartal 2</c:v>
                </c:pt>
                <c:pt idx="45">
                  <c:v>2017 kvartal 3</c:v>
                </c:pt>
                <c:pt idx="46">
                  <c:v>2017 kvartal 4</c:v>
                </c:pt>
                <c:pt idx="47">
                  <c:v>2018 kvartal 1</c:v>
                </c:pt>
                <c:pt idx="48">
                  <c:v>2018 kvartal 2</c:v>
                </c:pt>
                <c:pt idx="49">
                  <c:v>2018 kvartal 3</c:v>
                </c:pt>
                <c:pt idx="50">
                  <c:v>2018 kvartal 4</c:v>
                </c:pt>
                <c:pt idx="51">
                  <c:v>2019 kvartal 1</c:v>
                </c:pt>
                <c:pt idx="52">
                  <c:v>2019 kvartal 2</c:v>
                </c:pt>
                <c:pt idx="53">
                  <c:v>2019 kvartal 3</c:v>
                </c:pt>
                <c:pt idx="54">
                  <c:v>2019 kvartal 4</c:v>
                </c:pt>
                <c:pt idx="55">
                  <c:v>2020 kvartal 1</c:v>
                </c:pt>
                <c:pt idx="56">
                  <c:v>2020 kvartal 2</c:v>
                </c:pt>
                <c:pt idx="57">
                  <c:v>2020 kvartal 3</c:v>
                </c:pt>
                <c:pt idx="58">
                  <c:v>2020 kvartal 4</c:v>
                </c:pt>
                <c:pt idx="59">
                  <c:v>2021 kvartal 1</c:v>
                </c:pt>
                <c:pt idx="60">
                  <c:v>2021 kvartal 2</c:v>
                </c:pt>
              </c:strCache>
            </c:strRef>
          </c:cat>
          <c:val>
            <c:numRef>
              <c:f>'Masterfil BI'!$H$33:$H$93</c:f>
              <c:numCache>
                <c:formatCode>0.0</c:formatCode>
                <c:ptCount val="61"/>
                <c:pt idx="0">
                  <c:v>101</c:v>
                </c:pt>
                <c:pt idx="1">
                  <c:v>101</c:v>
                </c:pt>
                <c:pt idx="2">
                  <c:v>101</c:v>
                </c:pt>
                <c:pt idx="3">
                  <c:v>101</c:v>
                </c:pt>
                <c:pt idx="4">
                  <c:v>101</c:v>
                </c:pt>
                <c:pt idx="5">
                  <c:v>101</c:v>
                </c:pt>
                <c:pt idx="6">
                  <c:v>101</c:v>
                </c:pt>
                <c:pt idx="7">
                  <c:v>101</c:v>
                </c:pt>
                <c:pt idx="8">
                  <c:v>101</c:v>
                </c:pt>
                <c:pt idx="9">
                  <c:v>101</c:v>
                </c:pt>
                <c:pt idx="10">
                  <c:v>101</c:v>
                </c:pt>
                <c:pt idx="11">
                  <c:v>101</c:v>
                </c:pt>
                <c:pt idx="12">
                  <c:v>101</c:v>
                </c:pt>
                <c:pt idx="13">
                  <c:v>101</c:v>
                </c:pt>
                <c:pt idx="14">
                  <c:v>101</c:v>
                </c:pt>
                <c:pt idx="15">
                  <c:v>101</c:v>
                </c:pt>
                <c:pt idx="16">
                  <c:v>101</c:v>
                </c:pt>
                <c:pt idx="17">
                  <c:v>101</c:v>
                </c:pt>
                <c:pt idx="18">
                  <c:v>101</c:v>
                </c:pt>
                <c:pt idx="19">
                  <c:v>101</c:v>
                </c:pt>
                <c:pt idx="20">
                  <c:v>101</c:v>
                </c:pt>
                <c:pt idx="21">
                  <c:v>101</c:v>
                </c:pt>
                <c:pt idx="22">
                  <c:v>101</c:v>
                </c:pt>
                <c:pt idx="23">
                  <c:v>101</c:v>
                </c:pt>
                <c:pt idx="24">
                  <c:v>101</c:v>
                </c:pt>
                <c:pt idx="25">
                  <c:v>101</c:v>
                </c:pt>
                <c:pt idx="26">
                  <c:v>101</c:v>
                </c:pt>
                <c:pt idx="27">
                  <c:v>101</c:v>
                </c:pt>
                <c:pt idx="28">
                  <c:v>101</c:v>
                </c:pt>
                <c:pt idx="29">
                  <c:v>101</c:v>
                </c:pt>
                <c:pt idx="30">
                  <c:v>101</c:v>
                </c:pt>
                <c:pt idx="31">
                  <c:v>101</c:v>
                </c:pt>
                <c:pt idx="32">
                  <c:v>101</c:v>
                </c:pt>
                <c:pt idx="33">
                  <c:v>101</c:v>
                </c:pt>
                <c:pt idx="34">
                  <c:v>101</c:v>
                </c:pt>
                <c:pt idx="35">
                  <c:v>101</c:v>
                </c:pt>
                <c:pt idx="36">
                  <c:v>101</c:v>
                </c:pt>
                <c:pt idx="37">
                  <c:v>101</c:v>
                </c:pt>
                <c:pt idx="38">
                  <c:v>101</c:v>
                </c:pt>
                <c:pt idx="39">
                  <c:v>101</c:v>
                </c:pt>
                <c:pt idx="40">
                  <c:v>101</c:v>
                </c:pt>
                <c:pt idx="41">
                  <c:v>101</c:v>
                </c:pt>
                <c:pt idx="42">
                  <c:v>101</c:v>
                </c:pt>
                <c:pt idx="43">
                  <c:v>101</c:v>
                </c:pt>
                <c:pt idx="44">
                  <c:v>101</c:v>
                </c:pt>
                <c:pt idx="45">
                  <c:v>101</c:v>
                </c:pt>
                <c:pt idx="46">
                  <c:v>101</c:v>
                </c:pt>
                <c:pt idx="47">
                  <c:v>101</c:v>
                </c:pt>
                <c:pt idx="48">
                  <c:v>101</c:v>
                </c:pt>
                <c:pt idx="49">
                  <c:v>101</c:v>
                </c:pt>
                <c:pt idx="50">
                  <c:v>101</c:v>
                </c:pt>
                <c:pt idx="51">
                  <c:v>101</c:v>
                </c:pt>
                <c:pt idx="52">
                  <c:v>101</c:v>
                </c:pt>
                <c:pt idx="53">
                  <c:v>101</c:v>
                </c:pt>
                <c:pt idx="54">
                  <c:v>101</c:v>
                </c:pt>
                <c:pt idx="55">
                  <c:v>101</c:v>
                </c:pt>
                <c:pt idx="56">
                  <c:v>101</c:v>
                </c:pt>
                <c:pt idx="57">
                  <c:v>101</c:v>
                </c:pt>
                <c:pt idx="58">
                  <c:v>101</c:v>
                </c:pt>
                <c:pt idx="59">
                  <c:v>101</c:v>
                </c:pt>
                <c:pt idx="60">
                  <c:v>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B61-447E-BDA9-CA9FC48AC6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07982752"/>
        <c:axId val="2107036784"/>
      </c:lineChart>
      <c:catAx>
        <c:axId val="210798275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2107036784"/>
        <c:crosses val="autoZero"/>
        <c:auto val="1"/>
        <c:lblAlgn val="ctr"/>
        <c:lblOffset val="100"/>
        <c:tickLblSkip val="4"/>
        <c:noMultiLvlLbl val="0"/>
      </c:catAx>
      <c:valAx>
        <c:axId val="2107036784"/>
        <c:scaling>
          <c:orientation val="minMax"/>
          <c:min val="50"/>
        </c:scaling>
        <c:delete val="0"/>
        <c:axPos val="l"/>
        <c:numFmt formatCode="0" sourceLinked="0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2107982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13306090534979423"/>
          <c:y val="0.5869360134590007"/>
          <c:w val="0.75766666666666671"/>
          <c:h val="0.109276352548650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458179292620175E-2"/>
          <c:y val="3.8999691358024696E-2"/>
          <c:w val="0.86952366255144053"/>
          <c:h val="0.69360810810810813"/>
        </c:manualLayout>
      </c:layout>
      <c:lineChart>
        <c:grouping val="standard"/>
        <c:varyColors val="0"/>
        <c:ser>
          <c:idx val="0"/>
          <c:order val="0"/>
          <c:tx>
            <c:v>  Konjunkturindikator för tjänster - Göteborgsregionen</c:v>
          </c:tx>
          <c:spPr>
            <a:ln w="571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84"/>
              <c:layout>
                <c:manualLayout>
                  <c:x val="-1.1821167149442001E-2"/>
                  <c:y val="-3.3403837934397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CC0-4D08-AFB2-66DCC21794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sterfil BI'!$A$9:$A$93</c:f>
              <c:strCache>
                <c:ptCount val="85"/>
                <c:pt idx="0">
                  <c:v>2000 kvartal 2</c:v>
                </c:pt>
                <c:pt idx="1">
                  <c:v>2000 kvartal 3</c:v>
                </c:pt>
                <c:pt idx="2">
                  <c:v>2000 kvartal 4</c:v>
                </c:pt>
                <c:pt idx="3">
                  <c:v>2001 kvartal 1</c:v>
                </c:pt>
                <c:pt idx="4">
                  <c:v>2001 kvartal 2</c:v>
                </c:pt>
                <c:pt idx="5">
                  <c:v>2001 kvartal 3</c:v>
                </c:pt>
                <c:pt idx="6">
                  <c:v>2001 kvartal 4</c:v>
                </c:pt>
                <c:pt idx="7">
                  <c:v>2002 kvartal 1</c:v>
                </c:pt>
                <c:pt idx="8">
                  <c:v>2002 kvartal 2</c:v>
                </c:pt>
                <c:pt idx="9">
                  <c:v>2002 kvartal 3</c:v>
                </c:pt>
                <c:pt idx="10">
                  <c:v>2002 kvartal 4</c:v>
                </c:pt>
                <c:pt idx="11">
                  <c:v>2003 kvartal 1</c:v>
                </c:pt>
                <c:pt idx="12">
                  <c:v>2003 kvartal 2</c:v>
                </c:pt>
                <c:pt idx="13">
                  <c:v>2003 kvartal 3</c:v>
                </c:pt>
                <c:pt idx="14">
                  <c:v>2003 kvartal 4</c:v>
                </c:pt>
                <c:pt idx="15">
                  <c:v>2004 kvartal 1</c:v>
                </c:pt>
                <c:pt idx="16">
                  <c:v>2004 kvartal 2</c:v>
                </c:pt>
                <c:pt idx="17">
                  <c:v>2004 kvartal 3</c:v>
                </c:pt>
                <c:pt idx="18">
                  <c:v>2004 kvartal 4</c:v>
                </c:pt>
                <c:pt idx="19">
                  <c:v>2005 kvartal 1</c:v>
                </c:pt>
                <c:pt idx="20">
                  <c:v>2005 kvartal 2</c:v>
                </c:pt>
                <c:pt idx="21">
                  <c:v>2005 kvartal 3</c:v>
                </c:pt>
                <c:pt idx="22">
                  <c:v>2005 kvartal 4</c:v>
                </c:pt>
                <c:pt idx="23">
                  <c:v>2006 kvartal 1</c:v>
                </c:pt>
                <c:pt idx="24">
                  <c:v>2006 kvartal 2</c:v>
                </c:pt>
                <c:pt idx="25">
                  <c:v>2006 kvartal 3</c:v>
                </c:pt>
                <c:pt idx="26">
                  <c:v>2006 kvartal 4</c:v>
                </c:pt>
                <c:pt idx="27">
                  <c:v>2007 kvartal 1</c:v>
                </c:pt>
                <c:pt idx="28">
                  <c:v>2007 kvartal 2</c:v>
                </c:pt>
                <c:pt idx="29">
                  <c:v>2007 kvartal 3</c:v>
                </c:pt>
                <c:pt idx="30">
                  <c:v>2007 kvartal 4</c:v>
                </c:pt>
                <c:pt idx="31">
                  <c:v>2008 kvartal 1</c:v>
                </c:pt>
                <c:pt idx="32">
                  <c:v>2008 kvartal 2</c:v>
                </c:pt>
                <c:pt idx="33">
                  <c:v>2008 kvartal 3</c:v>
                </c:pt>
                <c:pt idx="34">
                  <c:v>2008 kvartal 4</c:v>
                </c:pt>
                <c:pt idx="35">
                  <c:v>2009 kvartal 1</c:v>
                </c:pt>
                <c:pt idx="36">
                  <c:v>2009 kvartal 2</c:v>
                </c:pt>
                <c:pt idx="37">
                  <c:v>2009 kvartal 3</c:v>
                </c:pt>
                <c:pt idx="38">
                  <c:v>2009 kvartal 4</c:v>
                </c:pt>
                <c:pt idx="39">
                  <c:v>2010 kvartal 1</c:v>
                </c:pt>
                <c:pt idx="40">
                  <c:v>2010 kvartal 2</c:v>
                </c:pt>
                <c:pt idx="41">
                  <c:v>2010 kvartal 3</c:v>
                </c:pt>
                <c:pt idx="42">
                  <c:v>2010 kvartal 4</c:v>
                </c:pt>
                <c:pt idx="43">
                  <c:v>2011 kvartal 1</c:v>
                </c:pt>
                <c:pt idx="44">
                  <c:v>2011 kvartal 2</c:v>
                </c:pt>
                <c:pt idx="45">
                  <c:v>2011 kvartal 3</c:v>
                </c:pt>
                <c:pt idx="46">
                  <c:v>2011 kvartal 4</c:v>
                </c:pt>
                <c:pt idx="47">
                  <c:v>2012 kvartal 1</c:v>
                </c:pt>
                <c:pt idx="48">
                  <c:v>2012 kvartal 2</c:v>
                </c:pt>
                <c:pt idx="49">
                  <c:v>2012 kvartal 3</c:v>
                </c:pt>
                <c:pt idx="50">
                  <c:v>2012 kvartal 4</c:v>
                </c:pt>
                <c:pt idx="51">
                  <c:v>2013 kvartal 1</c:v>
                </c:pt>
                <c:pt idx="52">
                  <c:v>2013 kvartal 2</c:v>
                </c:pt>
                <c:pt idx="53">
                  <c:v>2013 kvartal 3</c:v>
                </c:pt>
                <c:pt idx="54">
                  <c:v>2013 kvartal 4</c:v>
                </c:pt>
                <c:pt idx="55">
                  <c:v>2014 kvartal 1</c:v>
                </c:pt>
                <c:pt idx="56">
                  <c:v>2014 kvartal 2</c:v>
                </c:pt>
                <c:pt idx="57">
                  <c:v>2014 kvartal 3</c:v>
                </c:pt>
                <c:pt idx="58">
                  <c:v>2014 kvartal 4</c:v>
                </c:pt>
                <c:pt idx="59">
                  <c:v>2015 kvartal 1</c:v>
                </c:pt>
                <c:pt idx="60">
                  <c:v>2015 kvartal 2</c:v>
                </c:pt>
                <c:pt idx="61">
                  <c:v>2015 kvartal 3</c:v>
                </c:pt>
                <c:pt idx="62">
                  <c:v>2015 kvartal 4</c:v>
                </c:pt>
                <c:pt idx="63">
                  <c:v>2016 kvartal 1</c:v>
                </c:pt>
                <c:pt idx="64">
                  <c:v>2016 kvartal 2</c:v>
                </c:pt>
                <c:pt idx="65">
                  <c:v>2016 kvartal 3</c:v>
                </c:pt>
                <c:pt idx="66">
                  <c:v>2016 kvartal 4</c:v>
                </c:pt>
                <c:pt idx="67">
                  <c:v>2017 kvartal 1</c:v>
                </c:pt>
                <c:pt idx="68">
                  <c:v>2017 kvartal 2</c:v>
                </c:pt>
                <c:pt idx="69">
                  <c:v>2017 kvartal 3</c:v>
                </c:pt>
                <c:pt idx="70">
                  <c:v>2017 kvartal 4</c:v>
                </c:pt>
                <c:pt idx="71">
                  <c:v>2018 kvartal 1</c:v>
                </c:pt>
                <c:pt idx="72">
                  <c:v>2018 kvartal 2</c:v>
                </c:pt>
                <c:pt idx="73">
                  <c:v>2018 kvartal 3</c:v>
                </c:pt>
                <c:pt idx="74">
                  <c:v>2018 kvartal 4</c:v>
                </c:pt>
                <c:pt idx="75">
                  <c:v>2019 kvartal 1</c:v>
                </c:pt>
                <c:pt idx="76">
                  <c:v>2019 kvartal 2</c:v>
                </c:pt>
                <c:pt idx="77">
                  <c:v>2019 kvartal 3</c:v>
                </c:pt>
                <c:pt idx="78">
                  <c:v>2019 kvartal 4</c:v>
                </c:pt>
                <c:pt idx="79">
                  <c:v>2020 kvartal 1</c:v>
                </c:pt>
                <c:pt idx="80">
                  <c:v>2020 kvartal 2</c:v>
                </c:pt>
                <c:pt idx="81">
                  <c:v>2020 kvartal 3</c:v>
                </c:pt>
                <c:pt idx="82">
                  <c:v>2020 kvartal 4</c:v>
                </c:pt>
                <c:pt idx="83">
                  <c:v>2021 kvartal 1</c:v>
                </c:pt>
                <c:pt idx="84">
                  <c:v>2021 kvartal 2</c:v>
                </c:pt>
              </c:strCache>
            </c:strRef>
          </c:cat>
          <c:val>
            <c:numRef>
              <c:f>'Masterfil BI'!$D$9:$D$93</c:f>
              <c:numCache>
                <c:formatCode>0.0</c:formatCode>
                <c:ptCount val="85"/>
                <c:pt idx="0">
                  <c:v>108.3726290098175</c:v>
                </c:pt>
                <c:pt idx="1">
                  <c:v>105.87874512617141</c:v>
                </c:pt>
                <c:pt idx="2">
                  <c:v>99.906344496182811</c:v>
                </c:pt>
                <c:pt idx="3">
                  <c:v>95.221844733910814</c:v>
                </c:pt>
                <c:pt idx="4">
                  <c:v>89.418517568633533</c:v>
                </c:pt>
                <c:pt idx="5">
                  <c:v>88.656235673177562</c:v>
                </c:pt>
                <c:pt idx="6">
                  <c:v>85.639985417762759</c:v>
                </c:pt>
                <c:pt idx="7">
                  <c:v>87.164382416347237</c:v>
                </c:pt>
                <c:pt idx="8">
                  <c:v>91.352570754947692</c:v>
                </c:pt>
                <c:pt idx="9">
                  <c:v>87.565298023935384</c:v>
                </c:pt>
                <c:pt idx="10">
                  <c:v>94.902596759597259</c:v>
                </c:pt>
                <c:pt idx="11">
                  <c:v>85.517450443411079</c:v>
                </c:pt>
                <c:pt idx="12">
                  <c:v>88.150516470033352</c:v>
                </c:pt>
                <c:pt idx="13">
                  <c:v>89.977597670470615</c:v>
                </c:pt>
                <c:pt idx="14">
                  <c:v>92.346444604789326</c:v>
                </c:pt>
                <c:pt idx="15">
                  <c:v>103.05585552677873</c:v>
                </c:pt>
                <c:pt idx="16">
                  <c:v>103.60786303179142</c:v>
                </c:pt>
                <c:pt idx="17">
                  <c:v>101.10465476483638</c:v>
                </c:pt>
                <c:pt idx="18">
                  <c:v>104.29139627978847</c:v>
                </c:pt>
                <c:pt idx="19">
                  <c:v>105.65896318278627</c:v>
                </c:pt>
                <c:pt idx="20">
                  <c:v>104.44672518438546</c:v>
                </c:pt>
                <c:pt idx="21">
                  <c:v>107.52716191279178</c:v>
                </c:pt>
                <c:pt idx="22">
                  <c:v>108.95474530046688</c:v>
                </c:pt>
                <c:pt idx="23">
                  <c:v>111.9766503578801</c:v>
                </c:pt>
                <c:pt idx="24">
                  <c:v>102.37632544474708</c:v>
                </c:pt>
                <c:pt idx="25">
                  <c:v>109.62945457215868</c:v>
                </c:pt>
                <c:pt idx="26">
                  <c:v>110.47830830739279</c:v>
                </c:pt>
                <c:pt idx="27">
                  <c:v>105.52226666750168</c:v>
                </c:pt>
                <c:pt idx="28">
                  <c:v>109.34625312858236</c:v>
                </c:pt>
                <c:pt idx="29">
                  <c:v>107.4036261544541</c:v>
                </c:pt>
                <c:pt idx="30">
                  <c:v>105.61259148475408</c:v>
                </c:pt>
                <c:pt idx="31">
                  <c:v>106.16168000395109</c:v>
                </c:pt>
                <c:pt idx="32">
                  <c:v>98.987132731670968</c:v>
                </c:pt>
                <c:pt idx="33">
                  <c:v>91.60671486844744</c:v>
                </c:pt>
                <c:pt idx="34">
                  <c:v>77.694749254540014</c:v>
                </c:pt>
                <c:pt idx="35">
                  <c:v>75.086737392028894</c:v>
                </c:pt>
                <c:pt idx="36">
                  <c:v>84.604076650530573</c:v>
                </c:pt>
                <c:pt idx="37">
                  <c:v>95.271619447456885</c:v>
                </c:pt>
                <c:pt idx="38">
                  <c:v>104.72619002779302</c:v>
                </c:pt>
                <c:pt idx="39">
                  <c:v>105.31140847389099</c:v>
                </c:pt>
                <c:pt idx="40">
                  <c:v>114.29638977798389</c:v>
                </c:pt>
                <c:pt idx="41">
                  <c:v>112.32629006093248</c:v>
                </c:pt>
                <c:pt idx="42">
                  <c:v>115.74053693811976</c:v>
                </c:pt>
                <c:pt idx="43">
                  <c:v>114.0825292023938</c:v>
                </c:pt>
                <c:pt idx="44">
                  <c:v>107.3869789858296</c:v>
                </c:pt>
                <c:pt idx="45">
                  <c:v>98.500229087472079</c:v>
                </c:pt>
                <c:pt idx="46">
                  <c:v>95.642977317964778</c:v>
                </c:pt>
                <c:pt idx="47">
                  <c:v>101.62044894678439</c:v>
                </c:pt>
                <c:pt idx="48">
                  <c:v>92.667277166256298</c:v>
                </c:pt>
                <c:pt idx="49">
                  <c:v>93.899732141122925</c:v>
                </c:pt>
                <c:pt idx="50">
                  <c:v>87.74528045910904</c:v>
                </c:pt>
                <c:pt idx="51">
                  <c:v>93.465522196285775</c:v>
                </c:pt>
                <c:pt idx="52">
                  <c:v>98.483665315011294</c:v>
                </c:pt>
                <c:pt idx="53">
                  <c:v>100.74554026345311</c:v>
                </c:pt>
                <c:pt idx="54">
                  <c:v>105.49921410138391</c:v>
                </c:pt>
                <c:pt idx="55">
                  <c:v>101.42757232046047</c:v>
                </c:pt>
                <c:pt idx="56">
                  <c:v>98.59921108870229</c:v>
                </c:pt>
                <c:pt idx="57">
                  <c:v>99.255188197612483</c:v>
                </c:pt>
                <c:pt idx="58">
                  <c:v>100.66537382116823</c:v>
                </c:pt>
                <c:pt idx="59">
                  <c:v>101.14220248656332</c:v>
                </c:pt>
                <c:pt idx="60">
                  <c:v>104.35199656763318</c:v>
                </c:pt>
                <c:pt idx="61">
                  <c:v>103.51979000102357</c:v>
                </c:pt>
                <c:pt idx="62">
                  <c:v>101.49691318844671</c:v>
                </c:pt>
                <c:pt idx="63">
                  <c:v>103.50314283239906</c:v>
                </c:pt>
                <c:pt idx="64">
                  <c:v>104.63744979769405</c:v>
                </c:pt>
                <c:pt idx="65">
                  <c:v>104.40685865731575</c:v>
                </c:pt>
                <c:pt idx="66">
                  <c:v>106.78528016343456</c:v>
                </c:pt>
                <c:pt idx="67">
                  <c:v>106.34091184362991</c:v>
                </c:pt>
                <c:pt idx="68">
                  <c:v>104.08902847782817</c:v>
                </c:pt>
                <c:pt idx="69">
                  <c:v>101.55260926978785</c:v>
                </c:pt>
                <c:pt idx="70">
                  <c:v>105.66903816159007</c:v>
                </c:pt>
                <c:pt idx="71">
                  <c:v>103.33632115417231</c:v>
                </c:pt>
                <c:pt idx="72">
                  <c:v>103.82472598936089</c:v>
                </c:pt>
                <c:pt idx="73">
                  <c:v>100.31940369942637</c:v>
                </c:pt>
                <c:pt idx="74">
                  <c:v>97.170293302364939</c:v>
                </c:pt>
                <c:pt idx="75">
                  <c:v>99.74142464248024</c:v>
                </c:pt>
                <c:pt idx="76">
                  <c:v>97.532159997236448</c:v>
                </c:pt>
                <c:pt idx="77">
                  <c:v>90.083068465357812</c:v>
                </c:pt>
                <c:pt idx="78">
                  <c:v>92.470730958621857</c:v>
                </c:pt>
                <c:pt idx="79">
                  <c:v>56.673991051191891</c:v>
                </c:pt>
                <c:pt idx="80">
                  <c:v>76.7107165723165</c:v>
                </c:pt>
                <c:pt idx="81">
                  <c:v>88.534201105829581</c:v>
                </c:pt>
                <c:pt idx="82">
                  <c:v>95.434204118511204</c:v>
                </c:pt>
                <c:pt idx="83">
                  <c:v>107.53074809793858</c:v>
                </c:pt>
                <c:pt idx="84">
                  <c:v>114.65767266968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C0-4D08-AFB2-66DCC217940C}"/>
            </c:ext>
          </c:extLst>
        </c:ser>
        <c:ser>
          <c:idx val="1"/>
          <c:order val="1"/>
          <c:tx>
            <c:v>  Normal konjunktur - nedre gräns</c:v>
          </c:tx>
          <c:spPr>
            <a:ln w="12700" cap="rnd">
              <a:solidFill>
                <a:srgbClr val="7DB094"/>
              </a:solidFill>
              <a:round/>
            </a:ln>
            <a:effectLst/>
          </c:spPr>
          <c:marker>
            <c:symbol val="none"/>
          </c:marker>
          <c:dLbls>
            <c:dLbl>
              <c:idx val="62"/>
              <c:layout>
                <c:manualLayout>
                  <c:x val="-0.13093991769547325"/>
                  <c:y val="0.18910635635635636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Intervall</a:t>
                    </a:r>
                    <a:r>
                      <a:rPr lang="en-US" baseline="0">
                        <a:solidFill>
                          <a:schemeClr val="tx1"/>
                        </a:solidFill>
                      </a:rPr>
                      <a:t> för normal konjunktur</a:t>
                    </a:r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390329218106994"/>
                      <c:h val="0.13677602602602604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ACC0-4D08-AFB2-66DCC21794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7DB094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sterfil BI'!$A$9:$A$93</c:f>
              <c:strCache>
                <c:ptCount val="85"/>
                <c:pt idx="0">
                  <c:v>2000 kvartal 2</c:v>
                </c:pt>
                <c:pt idx="1">
                  <c:v>2000 kvartal 3</c:v>
                </c:pt>
                <c:pt idx="2">
                  <c:v>2000 kvartal 4</c:v>
                </c:pt>
                <c:pt idx="3">
                  <c:v>2001 kvartal 1</c:v>
                </c:pt>
                <c:pt idx="4">
                  <c:v>2001 kvartal 2</c:v>
                </c:pt>
                <c:pt idx="5">
                  <c:v>2001 kvartal 3</c:v>
                </c:pt>
                <c:pt idx="6">
                  <c:v>2001 kvartal 4</c:v>
                </c:pt>
                <c:pt idx="7">
                  <c:v>2002 kvartal 1</c:v>
                </c:pt>
                <c:pt idx="8">
                  <c:v>2002 kvartal 2</c:v>
                </c:pt>
                <c:pt idx="9">
                  <c:v>2002 kvartal 3</c:v>
                </c:pt>
                <c:pt idx="10">
                  <c:v>2002 kvartal 4</c:v>
                </c:pt>
                <c:pt idx="11">
                  <c:v>2003 kvartal 1</c:v>
                </c:pt>
                <c:pt idx="12">
                  <c:v>2003 kvartal 2</c:v>
                </c:pt>
                <c:pt idx="13">
                  <c:v>2003 kvartal 3</c:v>
                </c:pt>
                <c:pt idx="14">
                  <c:v>2003 kvartal 4</c:v>
                </c:pt>
                <c:pt idx="15">
                  <c:v>2004 kvartal 1</c:v>
                </c:pt>
                <c:pt idx="16">
                  <c:v>2004 kvartal 2</c:v>
                </c:pt>
                <c:pt idx="17">
                  <c:v>2004 kvartal 3</c:v>
                </c:pt>
                <c:pt idx="18">
                  <c:v>2004 kvartal 4</c:v>
                </c:pt>
                <c:pt idx="19">
                  <c:v>2005 kvartal 1</c:v>
                </c:pt>
                <c:pt idx="20">
                  <c:v>2005 kvartal 2</c:v>
                </c:pt>
                <c:pt idx="21">
                  <c:v>2005 kvartal 3</c:v>
                </c:pt>
                <c:pt idx="22">
                  <c:v>2005 kvartal 4</c:v>
                </c:pt>
                <c:pt idx="23">
                  <c:v>2006 kvartal 1</c:v>
                </c:pt>
                <c:pt idx="24">
                  <c:v>2006 kvartal 2</c:v>
                </c:pt>
                <c:pt idx="25">
                  <c:v>2006 kvartal 3</c:v>
                </c:pt>
                <c:pt idx="26">
                  <c:v>2006 kvartal 4</c:v>
                </c:pt>
                <c:pt idx="27">
                  <c:v>2007 kvartal 1</c:v>
                </c:pt>
                <c:pt idx="28">
                  <c:v>2007 kvartal 2</c:v>
                </c:pt>
                <c:pt idx="29">
                  <c:v>2007 kvartal 3</c:v>
                </c:pt>
                <c:pt idx="30">
                  <c:v>2007 kvartal 4</c:v>
                </c:pt>
                <c:pt idx="31">
                  <c:v>2008 kvartal 1</c:v>
                </c:pt>
                <c:pt idx="32">
                  <c:v>2008 kvartal 2</c:v>
                </c:pt>
                <c:pt idx="33">
                  <c:v>2008 kvartal 3</c:v>
                </c:pt>
                <c:pt idx="34">
                  <c:v>2008 kvartal 4</c:v>
                </c:pt>
                <c:pt idx="35">
                  <c:v>2009 kvartal 1</c:v>
                </c:pt>
                <c:pt idx="36">
                  <c:v>2009 kvartal 2</c:v>
                </c:pt>
                <c:pt idx="37">
                  <c:v>2009 kvartal 3</c:v>
                </c:pt>
                <c:pt idx="38">
                  <c:v>2009 kvartal 4</c:v>
                </c:pt>
                <c:pt idx="39">
                  <c:v>2010 kvartal 1</c:v>
                </c:pt>
                <c:pt idx="40">
                  <c:v>2010 kvartal 2</c:v>
                </c:pt>
                <c:pt idx="41">
                  <c:v>2010 kvartal 3</c:v>
                </c:pt>
                <c:pt idx="42">
                  <c:v>2010 kvartal 4</c:v>
                </c:pt>
                <c:pt idx="43">
                  <c:v>2011 kvartal 1</c:v>
                </c:pt>
                <c:pt idx="44">
                  <c:v>2011 kvartal 2</c:v>
                </c:pt>
                <c:pt idx="45">
                  <c:v>2011 kvartal 3</c:v>
                </c:pt>
                <c:pt idx="46">
                  <c:v>2011 kvartal 4</c:v>
                </c:pt>
                <c:pt idx="47">
                  <c:v>2012 kvartal 1</c:v>
                </c:pt>
                <c:pt idx="48">
                  <c:v>2012 kvartal 2</c:v>
                </c:pt>
                <c:pt idx="49">
                  <c:v>2012 kvartal 3</c:v>
                </c:pt>
                <c:pt idx="50">
                  <c:v>2012 kvartal 4</c:v>
                </c:pt>
                <c:pt idx="51">
                  <c:v>2013 kvartal 1</c:v>
                </c:pt>
                <c:pt idx="52">
                  <c:v>2013 kvartal 2</c:v>
                </c:pt>
                <c:pt idx="53">
                  <c:v>2013 kvartal 3</c:v>
                </c:pt>
                <c:pt idx="54">
                  <c:v>2013 kvartal 4</c:v>
                </c:pt>
                <c:pt idx="55">
                  <c:v>2014 kvartal 1</c:v>
                </c:pt>
                <c:pt idx="56">
                  <c:v>2014 kvartal 2</c:v>
                </c:pt>
                <c:pt idx="57">
                  <c:v>2014 kvartal 3</c:v>
                </c:pt>
                <c:pt idx="58">
                  <c:v>2014 kvartal 4</c:v>
                </c:pt>
                <c:pt idx="59">
                  <c:v>2015 kvartal 1</c:v>
                </c:pt>
                <c:pt idx="60">
                  <c:v>2015 kvartal 2</c:v>
                </c:pt>
                <c:pt idx="61">
                  <c:v>2015 kvartal 3</c:v>
                </c:pt>
                <c:pt idx="62">
                  <c:v>2015 kvartal 4</c:v>
                </c:pt>
                <c:pt idx="63">
                  <c:v>2016 kvartal 1</c:v>
                </c:pt>
                <c:pt idx="64">
                  <c:v>2016 kvartal 2</c:v>
                </c:pt>
                <c:pt idx="65">
                  <c:v>2016 kvartal 3</c:v>
                </c:pt>
                <c:pt idx="66">
                  <c:v>2016 kvartal 4</c:v>
                </c:pt>
                <c:pt idx="67">
                  <c:v>2017 kvartal 1</c:v>
                </c:pt>
                <c:pt idx="68">
                  <c:v>2017 kvartal 2</c:v>
                </c:pt>
                <c:pt idx="69">
                  <c:v>2017 kvartal 3</c:v>
                </c:pt>
                <c:pt idx="70">
                  <c:v>2017 kvartal 4</c:v>
                </c:pt>
                <c:pt idx="71">
                  <c:v>2018 kvartal 1</c:v>
                </c:pt>
                <c:pt idx="72">
                  <c:v>2018 kvartal 2</c:v>
                </c:pt>
                <c:pt idx="73">
                  <c:v>2018 kvartal 3</c:v>
                </c:pt>
                <c:pt idx="74">
                  <c:v>2018 kvartal 4</c:v>
                </c:pt>
                <c:pt idx="75">
                  <c:v>2019 kvartal 1</c:v>
                </c:pt>
                <c:pt idx="76">
                  <c:v>2019 kvartal 2</c:v>
                </c:pt>
                <c:pt idx="77">
                  <c:v>2019 kvartal 3</c:v>
                </c:pt>
                <c:pt idx="78">
                  <c:v>2019 kvartal 4</c:v>
                </c:pt>
                <c:pt idx="79">
                  <c:v>2020 kvartal 1</c:v>
                </c:pt>
                <c:pt idx="80">
                  <c:v>2020 kvartal 2</c:v>
                </c:pt>
                <c:pt idx="81">
                  <c:v>2020 kvartal 3</c:v>
                </c:pt>
                <c:pt idx="82">
                  <c:v>2020 kvartal 4</c:v>
                </c:pt>
                <c:pt idx="83">
                  <c:v>2021 kvartal 1</c:v>
                </c:pt>
                <c:pt idx="84">
                  <c:v>2021 kvartal 2</c:v>
                </c:pt>
              </c:strCache>
            </c:strRef>
          </c:cat>
          <c:val>
            <c:numRef>
              <c:f>'Masterfil BI'!$G$9:$G$93</c:f>
              <c:numCache>
                <c:formatCode>0.0</c:formatCode>
                <c:ptCount val="85"/>
                <c:pt idx="0">
                  <c:v>99</c:v>
                </c:pt>
                <c:pt idx="1">
                  <c:v>99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  <c:pt idx="5">
                  <c:v>99</c:v>
                </c:pt>
                <c:pt idx="6">
                  <c:v>99</c:v>
                </c:pt>
                <c:pt idx="7">
                  <c:v>99</c:v>
                </c:pt>
                <c:pt idx="8">
                  <c:v>99</c:v>
                </c:pt>
                <c:pt idx="9">
                  <c:v>99</c:v>
                </c:pt>
                <c:pt idx="10">
                  <c:v>99</c:v>
                </c:pt>
                <c:pt idx="11">
                  <c:v>99</c:v>
                </c:pt>
                <c:pt idx="12">
                  <c:v>99</c:v>
                </c:pt>
                <c:pt idx="13">
                  <c:v>99</c:v>
                </c:pt>
                <c:pt idx="14">
                  <c:v>99</c:v>
                </c:pt>
                <c:pt idx="15">
                  <c:v>99</c:v>
                </c:pt>
                <c:pt idx="16">
                  <c:v>99</c:v>
                </c:pt>
                <c:pt idx="17">
                  <c:v>99</c:v>
                </c:pt>
                <c:pt idx="18">
                  <c:v>99</c:v>
                </c:pt>
                <c:pt idx="19">
                  <c:v>99</c:v>
                </c:pt>
                <c:pt idx="20">
                  <c:v>99</c:v>
                </c:pt>
                <c:pt idx="21">
                  <c:v>99</c:v>
                </c:pt>
                <c:pt idx="22">
                  <c:v>99</c:v>
                </c:pt>
                <c:pt idx="23">
                  <c:v>99</c:v>
                </c:pt>
                <c:pt idx="24">
                  <c:v>99</c:v>
                </c:pt>
                <c:pt idx="25">
                  <c:v>99</c:v>
                </c:pt>
                <c:pt idx="26">
                  <c:v>99</c:v>
                </c:pt>
                <c:pt idx="27">
                  <c:v>99</c:v>
                </c:pt>
                <c:pt idx="28">
                  <c:v>99</c:v>
                </c:pt>
                <c:pt idx="29">
                  <c:v>99</c:v>
                </c:pt>
                <c:pt idx="30">
                  <c:v>99</c:v>
                </c:pt>
                <c:pt idx="31">
                  <c:v>99</c:v>
                </c:pt>
                <c:pt idx="32">
                  <c:v>99</c:v>
                </c:pt>
                <c:pt idx="33">
                  <c:v>99</c:v>
                </c:pt>
                <c:pt idx="34">
                  <c:v>99</c:v>
                </c:pt>
                <c:pt idx="35">
                  <c:v>99</c:v>
                </c:pt>
                <c:pt idx="36">
                  <c:v>99</c:v>
                </c:pt>
                <c:pt idx="37">
                  <c:v>99</c:v>
                </c:pt>
                <c:pt idx="38">
                  <c:v>99</c:v>
                </c:pt>
                <c:pt idx="39">
                  <c:v>99</c:v>
                </c:pt>
                <c:pt idx="40">
                  <c:v>99</c:v>
                </c:pt>
                <c:pt idx="41">
                  <c:v>99</c:v>
                </c:pt>
                <c:pt idx="42">
                  <c:v>99</c:v>
                </c:pt>
                <c:pt idx="43">
                  <c:v>99</c:v>
                </c:pt>
                <c:pt idx="44">
                  <c:v>99</c:v>
                </c:pt>
                <c:pt idx="45">
                  <c:v>99</c:v>
                </c:pt>
                <c:pt idx="46">
                  <c:v>99</c:v>
                </c:pt>
                <c:pt idx="47">
                  <c:v>99</c:v>
                </c:pt>
                <c:pt idx="48">
                  <c:v>99</c:v>
                </c:pt>
                <c:pt idx="49">
                  <c:v>99</c:v>
                </c:pt>
                <c:pt idx="50">
                  <c:v>99</c:v>
                </c:pt>
                <c:pt idx="51">
                  <c:v>99</c:v>
                </c:pt>
                <c:pt idx="52">
                  <c:v>99</c:v>
                </c:pt>
                <c:pt idx="53">
                  <c:v>99</c:v>
                </c:pt>
                <c:pt idx="54">
                  <c:v>99</c:v>
                </c:pt>
                <c:pt idx="55">
                  <c:v>99</c:v>
                </c:pt>
                <c:pt idx="56">
                  <c:v>99</c:v>
                </c:pt>
                <c:pt idx="57">
                  <c:v>99</c:v>
                </c:pt>
                <c:pt idx="58">
                  <c:v>99</c:v>
                </c:pt>
                <c:pt idx="59">
                  <c:v>99</c:v>
                </c:pt>
                <c:pt idx="60">
                  <c:v>99</c:v>
                </c:pt>
                <c:pt idx="61">
                  <c:v>99</c:v>
                </c:pt>
                <c:pt idx="62">
                  <c:v>99</c:v>
                </c:pt>
                <c:pt idx="63">
                  <c:v>99</c:v>
                </c:pt>
                <c:pt idx="64">
                  <c:v>99</c:v>
                </c:pt>
                <c:pt idx="65">
                  <c:v>99</c:v>
                </c:pt>
                <c:pt idx="66">
                  <c:v>99</c:v>
                </c:pt>
                <c:pt idx="67">
                  <c:v>99</c:v>
                </c:pt>
                <c:pt idx="68">
                  <c:v>99</c:v>
                </c:pt>
                <c:pt idx="69">
                  <c:v>99</c:v>
                </c:pt>
                <c:pt idx="70">
                  <c:v>99</c:v>
                </c:pt>
                <c:pt idx="71">
                  <c:v>99</c:v>
                </c:pt>
                <c:pt idx="72">
                  <c:v>99</c:v>
                </c:pt>
                <c:pt idx="73">
                  <c:v>99</c:v>
                </c:pt>
                <c:pt idx="74">
                  <c:v>99</c:v>
                </c:pt>
                <c:pt idx="75">
                  <c:v>99</c:v>
                </c:pt>
                <c:pt idx="76">
                  <c:v>99</c:v>
                </c:pt>
                <c:pt idx="77">
                  <c:v>99</c:v>
                </c:pt>
                <c:pt idx="78">
                  <c:v>99</c:v>
                </c:pt>
                <c:pt idx="79">
                  <c:v>99</c:v>
                </c:pt>
                <c:pt idx="80">
                  <c:v>99</c:v>
                </c:pt>
                <c:pt idx="81">
                  <c:v>99</c:v>
                </c:pt>
                <c:pt idx="82">
                  <c:v>99</c:v>
                </c:pt>
                <c:pt idx="83">
                  <c:v>99</c:v>
                </c:pt>
                <c:pt idx="84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C0-4D08-AFB2-66DCC217940C}"/>
            </c:ext>
          </c:extLst>
        </c:ser>
        <c:ser>
          <c:idx val="2"/>
          <c:order val="2"/>
          <c:tx>
            <c:v>  Normal konjunktur - övre gräns</c:v>
          </c:tx>
          <c:spPr>
            <a:ln w="12700" cap="rnd">
              <a:solidFill>
                <a:srgbClr val="7DB094"/>
              </a:solidFill>
              <a:round/>
            </a:ln>
            <a:effectLst/>
          </c:spPr>
          <c:marker>
            <c:symbol val="none"/>
          </c:marker>
          <c:dLbls>
            <c:dLbl>
              <c:idx val="62"/>
              <c:layout>
                <c:manualLayout>
                  <c:x val="8.3870536771173277E-3"/>
                  <c:y val="0.1572882102943491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CC0-4D08-AFB2-66DCC21794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Masterfil BI'!$A$9:$A$93</c:f>
              <c:strCache>
                <c:ptCount val="85"/>
                <c:pt idx="0">
                  <c:v>2000 kvartal 2</c:v>
                </c:pt>
                <c:pt idx="1">
                  <c:v>2000 kvartal 3</c:v>
                </c:pt>
                <c:pt idx="2">
                  <c:v>2000 kvartal 4</c:v>
                </c:pt>
                <c:pt idx="3">
                  <c:v>2001 kvartal 1</c:v>
                </c:pt>
                <c:pt idx="4">
                  <c:v>2001 kvartal 2</c:v>
                </c:pt>
                <c:pt idx="5">
                  <c:v>2001 kvartal 3</c:v>
                </c:pt>
                <c:pt idx="6">
                  <c:v>2001 kvartal 4</c:v>
                </c:pt>
                <c:pt idx="7">
                  <c:v>2002 kvartal 1</c:v>
                </c:pt>
                <c:pt idx="8">
                  <c:v>2002 kvartal 2</c:v>
                </c:pt>
                <c:pt idx="9">
                  <c:v>2002 kvartal 3</c:v>
                </c:pt>
                <c:pt idx="10">
                  <c:v>2002 kvartal 4</c:v>
                </c:pt>
                <c:pt idx="11">
                  <c:v>2003 kvartal 1</c:v>
                </c:pt>
                <c:pt idx="12">
                  <c:v>2003 kvartal 2</c:v>
                </c:pt>
                <c:pt idx="13">
                  <c:v>2003 kvartal 3</c:v>
                </c:pt>
                <c:pt idx="14">
                  <c:v>2003 kvartal 4</c:v>
                </c:pt>
                <c:pt idx="15">
                  <c:v>2004 kvartal 1</c:v>
                </c:pt>
                <c:pt idx="16">
                  <c:v>2004 kvartal 2</c:v>
                </c:pt>
                <c:pt idx="17">
                  <c:v>2004 kvartal 3</c:v>
                </c:pt>
                <c:pt idx="18">
                  <c:v>2004 kvartal 4</c:v>
                </c:pt>
                <c:pt idx="19">
                  <c:v>2005 kvartal 1</c:v>
                </c:pt>
                <c:pt idx="20">
                  <c:v>2005 kvartal 2</c:v>
                </c:pt>
                <c:pt idx="21">
                  <c:v>2005 kvartal 3</c:v>
                </c:pt>
                <c:pt idx="22">
                  <c:v>2005 kvartal 4</c:v>
                </c:pt>
                <c:pt idx="23">
                  <c:v>2006 kvartal 1</c:v>
                </c:pt>
                <c:pt idx="24">
                  <c:v>2006 kvartal 2</c:v>
                </c:pt>
                <c:pt idx="25">
                  <c:v>2006 kvartal 3</c:v>
                </c:pt>
                <c:pt idx="26">
                  <c:v>2006 kvartal 4</c:v>
                </c:pt>
                <c:pt idx="27">
                  <c:v>2007 kvartal 1</c:v>
                </c:pt>
                <c:pt idx="28">
                  <c:v>2007 kvartal 2</c:v>
                </c:pt>
                <c:pt idx="29">
                  <c:v>2007 kvartal 3</c:v>
                </c:pt>
                <c:pt idx="30">
                  <c:v>2007 kvartal 4</c:v>
                </c:pt>
                <c:pt idx="31">
                  <c:v>2008 kvartal 1</c:v>
                </c:pt>
                <c:pt idx="32">
                  <c:v>2008 kvartal 2</c:v>
                </c:pt>
                <c:pt idx="33">
                  <c:v>2008 kvartal 3</c:v>
                </c:pt>
                <c:pt idx="34">
                  <c:v>2008 kvartal 4</c:v>
                </c:pt>
                <c:pt idx="35">
                  <c:v>2009 kvartal 1</c:v>
                </c:pt>
                <c:pt idx="36">
                  <c:v>2009 kvartal 2</c:v>
                </c:pt>
                <c:pt idx="37">
                  <c:v>2009 kvartal 3</c:v>
                </c:pt>
                <c:pt idx="38">
                  <c:v>2009 kvartal 4</c:v>
                </c:pt>
                <c:pt idx="39">
                  <c:v>2010 kvartal 1</c:v>
                </c:pt>
                <c:pt idx="40">
                  <c:v>2010 kvartal 2</c:v>
                </c:pt>
                <c:pt idx="41">
                  <c:v>2010 kvartal 3</c:v>
                </c:pt>
                <c:pt idx="42">
                  <c:v>2010 kvartal 4</c:v>
                </c:pt>
                <c:pt idx="43">
                  <c:v>2011 kvartal 1</c:v>
                </c:pt>
                <c:pt idx="44">
                  <c:v>2011 kvartal 2</c:v>
                </c:pt>
                <c:pt idx="45">
                  <c:v>2011 kvartal 3</c:v>
                </c:pt>
                <c:pt idx="46">
                  <c:v>2011 kvartal 4</c:v>
                </c:pt>
                <c:pt idx="47">
                  <c:v>2012 kvartal 1</c:v>
                </c:pt>
                <c:pt idx="48">
                  <c:v>2012 kvartal 2</c:v>
                </c:pt>
                <c:pt idx="49">
                  <c:v>2012 kvartal 3</c:v>
                </c:pt>
                <c:pt idx="50">
                  <c:v>2012 kvartal 4</c:v>
                </c:pt>
                <c:pt idx="51">
                  <c:v>2013 kvartal 1</c:v>
                </c:pt>
                <c:pt idx="52">
                  <c:v>2013 kvartal 2</c:v>
                </c:pt>
                <c:pt idx="53">
                  <c:v>2013 kvartal 3</c:v>
                </c:pt>
                <c:pt idx="54">
                  <c:v>2013 kvartal 4</c:v>
                </c:pt>
                <c:pt idx="55">
                  <c:v>2014 kvartal 1</c:v>
                </c:pt>
                <c:pt idx="56">
                  <c:v>2014 kvartal 2</c:v>
                </c:pt>
                <c:pt idx="57">
                  <c:v>2014 kvartal 3</c:v>
                </c:pt>
                <c:pt idx="58">
                  <c:v>2014 kvartal 4</c:v>
                </c:pt>
                <c:pt idx="59">
                  <c:v>2015 kvartal 1</c:v>
                </c:pt>
                <c:pt idx="60">
                  <c:v>2015 kvartal 2</c:v>
                </c:pt>
                <c:pt idx="61">
                  <c:v>2015 kvartal 3</c:v>
                </c:pt>
                <c:pt idx="62">
                  <c:v>2015 kvartal 4</c:v>
                </c:pt>
                <c:pt idx="63">
                  <c:v>2016 kvartal 1</c:v>
                </c:pt>
                <c:pt idx="64">
                  <c:v>2016 kvartal 2</c:v>
                </c:pt>
                <c:pt idx="65">
                  <c:v>2016 kvartal 3</c:v>
                </c:pt>
                <c:pt idx="66">
                  <c:v>2016 kvartal 4</c:v>
                </c:pt>
                <c:pt idx="67">
                  <c:v>2017 kvartal 1</c:v>
                </c:pt>
                <c:pt idx="68">
                  <c:v>2017 kvartal 2</c:v>
                </c:pt>
                <c:pt idx="69">
                  <c:v>2017 kvartal 3</c:v>
                </c:pt>
                <c:pt idx="70">
                  <c:v>2017 kvartal 4</c:v>
                </c:pt>
                <c:pt idx="71">
                  <c:v>2018 kvartal 1</c:v>
                </c:pt>
                <c:pt idx="72">
                  <c:v>2018 kvartal 2</c:v>
                </c:pt>
                <c:pt idx="73">
                  <c:v>2018 kvartal 3</c:v>
                </c:pt>
                <c:pt idx="74">
                  <c:v>2018 kvartal 4</c:v>
                </c:pt>
                <c:pt idx="75">
                  <c:v>2019 kvartal 1</c:v>
                </c:pt>
                <c:pt idx="76">
                  <c:v>2019 kvartal 2</c:v>
                </c:pt>
                <c:pt idx="77">
                  <c:v>2019 kvartal 3</c:v>
                </c:pt>
                <c:pt idx="78">
                  <c:v>2019 kvartal 4</c:v>
                </c:pt>
                <c:pt idx="79">
                  <c:v>2020 kvartal 1</c:v>
                </c:pt>
                <c:pt idx="80">
                  <c:v>2020 kvartal 2</c:v>
                </c:pt>
                <c:pt idx="81">
                  <c:v>2020 kvartal 3</c:v>
                </c:pt>
                <c:pt idx="82">
                  <c:v>2020 kvartal 4</c:v>
                </c:pt>
                <c:pt idx="83">
                  <c:v>2021 kvartal 1</c:v>
                </c:pt>
                <c:pt idx="84">
                  <c:v>2021 kvartal 2</c:v>
                </c:pt>
              </c:strCache>
            </c:strRef>
          </c:cat>
          <c:val>
            <c:numRef>
              <c:f>'Masterfil BI'!$H$9:$H$93</c:f>
              <c:numCache>
                <c:formatCode>0.0</c:formatCode>
                <c:ptCount val="85"/>
                <c:pt idx="0">
                  <c:v>101</c:v>
                </c:pt>
                <c:pt idx="1">
                  <c:v>101</c:v>
                </c:pt>
                <c:pt idx="2">
                  <c:v>101</c:v>
                </c:pt>
                <c:pt idx="3">
                  <c:v>101</c:v>
                </c:pt>
                <c:pt idx="4">
                  <c:v>101</c:v>
                </c:pt>
                <c:pt idx="5">
                  <c:v>101</c:v>
                </c:pt>
                <c:pt idx="6">
                  <c:v>101</c:v>
                </c:pt>
                <c:pt idx="7">
                  <c:v>101</c:v>
                </c:pt>
                <c:pt idx="8">
                  <c:v>101</c:v>
                </c:pt>
                <c:pt idx="9">
                  <c:v>101</c:v>
                </c:pt>
                <c:pt idx="10">
                  <c:v>101</c:v>
                </c:pt>
                <c:pt idx="11">
                  <c:v>101</c:v>
                </c:pt>
                <c:pt idx="12">
                  <c:v>101</c:v>
                </c:pt>
                <c:pt idx="13">
                  <c:v>101</c:v>
                </c:pt>
                <c:pt idx="14">
                  <c:v>101</c:v>
                </c:pt>
                <c:pt idx="15">
                  <c:v>101</c:v>
                </c:pt>
                <c:pt idx="16">
                  <c:v>101</c:v>
                </c:pt>
                <c:pt idx="17">
                  <c:v>101</c:v>
                </c:pt>
                <c:pt idx="18">
                  <c:v>101</c:v>
                </c:pt>
                <c:pt idx="19">
                  <c:v>101</c:v>
                </c:pt>
                <c:pt idx="20">
                  <c:v>101</c:v>
                </c:pt>
                <c:pt idx="21">
                  <c:v>101</c:v>
                </c:pt>
                <c:pt idx="22">
                  <c:v>101</c:v>
                </c:pt>
                <c:pt idx="23">
                  <c:v>101</c:v>
                </c:pt>
                <c:pt idx="24">
                  <c:v>101</c:v>
                </c:pt>
                <c:pt idx="25">
                  <c:v>101</c:v>
                </c:pt>
                <c:pt idx="26">
                  <c:v>101</c:v>
                </c:pt>
                <c:pt idx="27">
                  <c:v>101</c:v>
                </c:pt>
                <c:pt idx="28">
                  <c:v>101</c:v>
                </c:pt>
                <c:pt idx="29">
                  <c:v>101</c:v>
                </c:pt>
                <c:pt idx="30">
                  <c:v>101</c:v>
                </c:pt>
                <c:pt idx="31">
                  <c:v>101</c:v>
                </c:pt>
                <c:pt idx="32">
                  <c:v>101</c:v>
                </c:pt>
                <c:pt idx="33">
                  <c:v>101</c:v>
                </c:pt>
                <c:pt idx="34">
                  <c:v>101</c:v>
                </c:pt>
                <c:pt idx="35">
                  <c:v>101</c:v>
                </c:pt>
                <c:pt idx="36">
                  <c:v>101</c:v>
                </c:pt>
                <c:pt idx="37">
                  <c:v>101</c:v>
                </c:pt>
                <c:pt idx="38">
                  <c:v>101</c:v>
                </c:pt>
                <c:pt idx="39">
                  <c:v>101</c:v>
                </c:pt>
                <c:pt idx="40">
                  <c:v>101</c:v>
                </c:pt>
                <c:pt idx="41">
                  <c:v>101</c:v>
                </c:pt>
                <c:pt idx="42">
                  <c:v>101</c:v>
                </c:pt>
                <c:pt idx="43">
                  <c:v>101</c:v>
                </c:pt>
                <c:pt idx="44">
                  <c:v>101</c:v>
                </c:pt>
                <c:pt idx="45">
                  <c:v>101</c:v>
                </c:pt>
                <c:pt idx="46">
                  <c:v>101</c:v>
                </c:pt>
                <c:pt idx="47">
                  <c:v>101</c:v>
                </c:pt>
                <c:pt idx="48">
                  <c:v>101</c:v>
                </c:pt>
                <c:pt idx="49">
                  <c:v>101</c:v>
                </c:pt>
                <c:pt idx="50">
                  <c:v>101</c:v>
                </c:pt>
                <c:pt idx="51">
                  <c:v>101</c:v>
                </c:pt>
                <c:pt idx="52">
                  <c:v>101</c:v>
                </c:pt>
                <c:pt idx="53">
                  <c:v>101</c:v>
                </c:pt>
                <c:pt idx="54">
                  <c:v>101</c:v>
                </c:pt>
                <c:pt idx="55">
                  <c:v>101</c:v>
                </c:pt>
                <c:pt idx="56">
                  <c:v>101</c:v>
                </c:pt>
                <c:pt idx="57">
                  <c:v>101</c:v>
                </c:pt>
                <c:pt idx="58">
                  <c:v>101</c:v>
                </c:pt>
                <c:pt idx="59">
                  <c:v>101</c:v>
                </c:pt>
                <c:pt idx="60">
                  <c:v>101</c:v>
                </c:pt>
                <c:pt idx="61">
                  <c:v>101</c:v>
                </c:pt>
                <c:pt idx="62">
                  <c:v>101</c:v>
                </c:pt>
                <c:pt idx="63">
                  <c:v>101</c:v>
                </c:pt>
                <c:pt idx="64">
                  <c:v>101</c:v>
                </c:pt>
                <c:pt idx="65">
                  <c:v>101</c:v>
                </c:pt>
                <c:pt idx="66">
                  <c:v>101</c:v>
                </c:pt>
                <c:pt idx="67">
                  <c:v>101</c:v>
                </c:pt>
                <c:pt idx="68">
                  <c:v>101</c:v>
                </c:pt>
                <c:pt idx="69">
                  <c:v>101</c:v>
                </c:pt>
                <c:pt idx="70">
                  <c:v>101</c:v>
                </c:pt>
                <c:pt idx="71">
                  <c:v>101</c:v>
                </c:pt>
                <c:pt idx="72">
                  <c:v>101</c:v>
                </c:pt>
                <c:pt idx="73">
                  <c:v>101</c:v>
                </c:pt>
                <c:pt idx="74">
                  <c:v>101</c:v>
                </c:pt>
                <c:pt idx="75">
                  <c:v>101</c:v>
                </c:pt>
                <c:pt idx="76">
                  <c:v>101</c:v>
                </c:pt>
                <c:pt idx="77">
                  <c:v>101</c:v>
                </c:pt>
                <c:pt idx="78">
                  <c:v>101</c:v>
                </c:pt>
                <c:pt idx="79">
                  <c:v>101</c:v>
                </c:pt>
                <c:pt idx="80">
                  <c:v>101</c:v>
                </c:pt>
                <c:pt idx="81">
                  <c:v>101</c:v>
                </c:pt>
                <c:pt idx="82">
                  <c:v>101</c:v>
                </c:pt>
                <c:pt idx="83">
                  <c:v>101</c:v>
                </c:pt>
                <c:pt idx="84">
                  <c:v>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C0-4D08-AFB2-66DCC21794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07982752"/>
        <c:axId val="2107036784"/>
      </c:lineChart>
      <c:catAx>
        <c:axId val="210798275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2107036784"/>
        <c:crosses val="autoZero"/>
        <c:auto val="1"/>
        <c:lblAlgn val="ctr"/>
        <c:lblOffset val="100"/>
        <c:tickLblSkip val="4"/>
        <c:noMultiLvlLbl val="0"/>
      </c:catAx>
      <c:valAx>
        <c:axId val="2107036784"/>
        <c:scaling>
          <c:orientation val="minMax"/>
          <c:min val="40"/>
        </c:scaling>
        <c:delete val="0"/>
        <c:axPos val="l"/>
        <c:numFmt formatCode="0" sourceLinked="0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2107982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9.8112757201646084E-2"/>
          <c:y val="0.57262637637637637"/>
          <c:w val="0.90188724279835386"/>
          <c:h val="0.109276352548650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207785073377456E-2"/>
          <c:y val="9.0080104889395787E-2"/>
          <c:w val="0.92879854077436941"/>
          <c:h val="0.64501470742341049"/>
        </c:manualLayout>
      </c:layout>
      <c:lineChart>
        <c:grouping val="standard"/>
        <c:varyColors val="0"/>
        <c:ser>
          <c:idx val="0"/>
          <c:order val="0"/>
          <c:tx>
            <c:v>  Handel</c:v>
          </c:tx>
          <c:spPr>
            <a:ln w="76200" cap="rnd">
              <a:solidFill>
                <a:srgbClr val="7DB094"/>
              </a:solidFill>
              <a:round/>
            </a:ln>
            <a:effectLst/>
          </c:spPr>
          <c:marker>
            <c:symbol val="none"/>
          </c:marker>
          <c:cat>
            <c:strRef>
              <c:f>Konj!$A$29:$A$89</c:f>
              <c:strCache>
                <c:ptCount val="61"/>
                <c:pt idx="0">
                  <c:v>2006 kvartal 2</c:v>
                </c:pt>
                <c:pt idx="1">
                  <c:v>2006 kvartal 3</c:v>
                </c:pt>
                <c:pt idx="2">
                  <c:v>2006 kvartal 4</c:v>
                </c:pt>
                <c:pt idx="3">
                  <c:v>2007 kvartal 1</c:v>
                </c:pt>
                <c:pt idx="4">
                  <c:v>2007 kvartal 2</c:v>
                </c:pt>
                <c:pt idx="5">
                  <c:v>2007 kvartal 3</c:v>
                </c:pt>
                <c:pt idx="6">
                  <c:v>2007 kvartal 4</c:v>
                </c:pt>
                <c:pt idx="7">
                  <c:v>2008 kvartal 1</c:v>
                </c:pt>
                <c:pt idx="8">
                  <c:v>2008 kvartal 2</c:v>
                </c:pt>
                <c:pt idx="9">
                  <c:v>2008 kvartal 3</c:v>
                </c:pt>
                <c:pt idx="10">
                  <c:v>2008 kvartal 4</c:v>
                </c:pt>
                <c:pt idx="11">
                  <c:v>2009 kvartal 1</c:v>
                </c:pt>
                <c:pt idx="12">
                  <c:v>2009 kvartal 2</c:v>
                </c:pt>
                <c:pt idx="13">
                  <c:v>2009 kvartal 3</c:v>
                </c:pt>
                <c:pt idx="14">
                  <c:v>2009 kvartal 4</c:v>
                </c:pt>
                <c:pt idx="15">
                  <c:v>2010 kvartal 1</c:v>
                </c:pt>
                <c:pt idx="16">
                  <c:v>2010 kvartal 2</c:v>
                </c:pt>
                <c:pt idx="17">
                  <c:v>2010 kvartal 3</c:v>
                </c:pt>
                <c:pt idx="18">
                  <c:v>2010 kvartal 4</c:v>
                </c:pt>
                <c:pt idx="19">
                  <c:v>2011 kvartal 1</c:v>
                </c:pt>
                <c:pt idx="20">
                  <c:v>2011 kvartal 2</c:v>
                </c:pt>
                <c:pt idx="21">
                  <c:v>2011 kvartal 3</c:v>
                </c:pt>
                <c:pt idx="22">
                  <c:v>2011 kvartal 4</c:v>
                </c:pt>
                <c:pt idx="23">
                  <c:v>2012 kvartal 1</c:v>
                </c:pt>
                <c:pt idx="24">
                  <c:v>2012 kvartal 2</c:v>
                </c:pt>
                <c:pt idx="25">
                  <c:v>2012 kvartal 3</c:v>
                </c:pt>
                <c:pt idx="26">
                  <c:v>2012 kvartal 4</c:v>
                </c:pt>
                <c:pt idx="27">
                  <c:v>2013 kvartal 1</c:v>
                </c:pt>
                <c:pt idx="28">
                  <c:v>2013 kvartal 2</c:v>
                </c:pt>
                <c:pt idx="29">
                  <c:v>2013 kvartal 3</c:v>
                </c:pt>
                <c:pt idx="30">
                  <c:v>2013 kvartal 4</c:v>
                </c:pt>
                <c:pt idx="31">
                  <c:v>2014 kvartal 1</c:v>
                </c:pt>
                <c:pt idx="32">
                  <c:v>2014 kvartal 2</c:v>
                </c:pt>
                <c:pt idx="33">
                  <c:v>2014 kvartal 3</c:v>
                </c:pt>
                <c:pt idx="34">
                  <c:v>2014 kvartal 4</c:v>
                </c:pt>
                <c:pt idx="35">
                  <c:v>2015 kvartal 1</c:v>
                </c:pt>
                <c:pt idx="36">
                  <c:v>2015 kvartal 2</c:v>
                </c:pt>
                <c:pt idx="37">
                  <c:v>2015 kvartal 3</c:v>
                </c:pt>
                <c:pt idx="38">
                  <c:v>2015 kvartal 4</c:v>
                </c:pt>
                <c:pt idx="39">
                  <c:v>2016 kvartal 1</c:v>
                </c:pt>
                <c:pt idx="40">
                  <c:v>2016 kvartal 2</c:v>
                </c:pt>
                <c:pt idx="41">
                  <c:v>2016 kvartal 3</c:v>
                </c:pt>
                <c:pt idx="42">
                  <c:v>2016 kvartal 4</c:v>
                </c:pt>
                <c:pt idx="43">
                  <c:v>2017 kvartal 1</c:v>
                </c:pt>
                <c:pt idx="44">
                  <c:v>2017 kvartal 2</c:v>
                </c:pt>
                <c:pt idx="45">
                  <c:v>2017 kvartal 3</c:v>
                </c:pt>
                <c:pt idx="46">
                  <c:v>2017 kvartal 4</c:v>
                </c:pt>
                <c:pt idx="47">
                  <c:v>2018 kvartal 1</c:v>
                </c:pt>
                <c:pt idx="48">
                  <c:v>2018 kvartal 2</c:v>
                </c:pt>
                <c:pt idx="49">
                  <c:v>2018 kvartal 3</c:v>
                </c:pt>
                <c:pt idx="50">
                  <c:v>2018 kvartal 4</c:v>
                </c:pt>
                <c:pt idx="51">
                  <c:v>2019 kvartal 1</c:v>
                </c:pt>
                <c:pt idx="52">
                  <c:v>2019 kvartal 2</c:v>
                </c:pt>
                <c:pt idx="53">
                  <c:v>2019 kvartal 3</c:v>
                </c:pt>
                <c:pt idx="54">
                  <c:v>2019 kvartal 4</c:v>
                </c:pt>
                <c:pt idx="55">
                  <c:v>2020 kvartal 1</c:v>
                </c:pt>
                <c:pt idx="56">
                  <c:v>2020 kvartal 2</c:v>
                </c:pt>
                <c:pt idx="57">
                  <c:v>2020 kvartal 3</c:v>
                </c:pt>
                <c:pt idx="58">
                  <c:v>2020 kvartal 4</c:v>
                </c:pt>
                <c:pt idx="59">
                  <c:v>2021 kvartal 1</c:v>
                </c:pt>
                <c:pt idx="60">
                  <c:v>2021 kvartal 2</c:v>
                </c:pt>
              </c:strCache>
            </c:strRef>
          </c:cat>
          <c:val>
            <c:numRef>
              <c:f>Konj!$D$29:$D$89</c:f>
              <c:numCache>
                <c:formatCode>General</c:formatCode>
                <c:ptCount val="61"/>
                <c:pt idx="0">
                  <c:v>10</c:v>
                </c:pt>
                <c:pt idx="1">
                  <c:v>18</c:v>
                </c:pt>
                <c:pt idx="2">
                  <c:v>23</c:v>
                </c:pt>
                <c:pt idx="3">
                  <c:v>34</c:v>
                </c:pt>
                <c:pt idx="4">
                  <c:v>26</c:v>
                </c:pt>
                <c:pt idx="5">
                  <c:v>14</c:v>
                </c:pt>
                <c:pt idx="6">
                  <c:v>26</c:v>
                </c:pt>
                <c:pt idx="7">
                  <c:v>26</c:v>
                </c:pt>
                <c:pt idx="8">
                  <c:v>14</c:v>
                </c:pt>
                <c:pt idx="9">
                  <c:v>7</c:v>
                </c:pt>
                <c:pt idx="10">
                  <c:v>-26</c:v>
                </c:pt>
                <c:pt idx="11">
                  <c:v>-49</c:v>
                </c:pt>
                <c:pt idx="12">
                  <c:v>-39</c:v>
                </c:pt>
                <c:pt idx="13">
                  <c:v>-35</c:v>
                </c:pt>
                <c:pt idx="14">
                  <c:v>-20</c:v>
                </c:pt>
                <c:pt idx="15">
                  <c:v>2</c:v>
                </c:pt>
                <c:pt idx="16">
                  <c:v>9</c:v>
                </c:pt>
                <c:pt idx="17">
                  <c:v>28</c:v>
                </c:pt>
                <c:pt idx="18">
                  <c:v>17</c:v>
                </c:pt>
                <c:pt idx="19">
                  <c:v>15</c:v>
                </c:pt>
                <c:pt idx="20">
                  <c:v>15</c:v>
                </c:pt>
                <c:pt idx="21">
                  <c:v>2</c:v>
                </c:pt>
                <c:pt idx="22">
                  <c:v>18</c:v>
                </c:pt>
                <c:pt idx="23">
                  <c:v>0</c:v>
                </c:pt>
                <c:pt idx="24">
                  <c:v>1</c:v>
                </c:pt>
                <c:pt idx="25">
                  <c:v>-13</c:v>
                </c:pt>
                <c:pt idx="26">
                  <c:v>-11</c:v>
                </c:pt>
                <c:pt idx="27">
                  <c:v>-8</c:v>
                </c:pt>
                <c:pt idx="28">
                  <c:v>-12</c:v>
                </c:pt>
                <c:pt idx="29">
                  <c:v>-6</c:v>
                </c:pt>
                <c:pt idx="30">
                  <c:v>2</c:v>
                </c:pt>
                <c:pt idx="31">
                  <c:v>22</c:v>
                </c:pt>
                <c:pt idx="32">
                  <c:v>14</c:v>
                </c:pt>
                <c:pt idx="33">
                  <c:v>24</c:v>
                </c:pt>
                <c:pt idx="34">
                  <c:v>19</c:v>
                </c:pt>
                <c:pt idx="35">
                  <c:v>11</c:v>
                </c:pt>
                <c:pt idx="36">
                  <c:v>17</c:v>
                </c:pt>
                <c:pt idx="37">
                  <c:v>24</c:v>
                </c:pt>
                <c:pt idx="38">
                  <c:v>27</c:v>
                </c:pt>
                <c:pt idx="39">
                  <c:v>18</c:v>
                </c:pt>
                <c:pt idx="40">
                  <c:v>32</c:v>
                </c:pt>
                <c:pt idx="41">
                  <c:v>25</c:v>
                </c:pt>
                <c:pt idx="42">
                  <c:v>23</c:v>
                </c:pt>
                <c:pt idx="43">
                  <c:v>17</c:v>
                </c:pt>
                <c:pt idx="44">
                  <c:v>26</c:v>
                </c:pt>
                <c:pt idx="45">
                  <c:v>23</c:v>
                </c:pt>
                <c:pt idx="46">
                  <c:v>19</c:v>
                </c:pt>
                <c:pt idx="47">
                  <c:v>24</c:v>
                </c:pt>
                <c:pt idx="48">
                  <c:v>17</c:v>
                </c:pt>
                <c:pt idx="49">
                  <c:v>8</c:v>
                </c:pt>
                <c:pt idx="50">
                  <c:v>10</c:v>
                </c:pt>
                <c:pt idx="51">
                  <c:v>11</c:v>
                </c:pt>
                <c:pt idx="52">
                  <c:v>4</c:v>
                </c:pt>
                <c:pt idx="53">
                  <c:v>7</c:v>
                </c:pt>
                <c:pt idx="54">
                  <c:v>1</c:v>
                </c:pt>
                <c:pt idx="55">
                  <c:v>-14</c:v>
                </c:pt>
                <c:pt idx="56">
                  <c:v>-24</c:v>
                </c:pt>
                <c:pt idx="57">
                  <c:v>-14</c:v>
                </c:pt>
                <c:pt idx="58">
                  <c:v>-8</c:v>
                </c:pt>
                <c:pt idx="59">
                  <c:v>2</c:v>
                </c:pt>
                <c:pt idx="60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95E-4900-AFAF-00A8A84B626A}"/>
            </c:ext>
          </c:extLst>
        </c:ser>
        <c:ser>
          <c:idx val="2"/>
          <c:order val="1"/>
          <c:tx>
            <c:v>  Tjänster</c:v>
          </c:tx>
          <c:spPr>
            <a:ln w="762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Konj!$A$29:$A$89</c:f>
              <c:strCache>
                <c:ptCount val="61"/>
                <c:pt idx="0">
                  <c:v>2006 kvartal 2</c:v>
                </c:pt>
                <c:pt idx="1">
                  <c:v>2006 kvartal 3</c:v>
                </c:pt>
                <c:pt idx="2">
                  <c:v>2006 kvartal 4</c:v>
                </c:pt>
                <c:pt idx="3">
                  <c:v>2007 kvartal 1</c:v>
                </c:pt>
                <c:pt idx="4">
                  <c:v>2007 kvartal 2</c:v>
                </c:pt>
                <c:pt idx="5">
                  <c:v>2007 kvartal 3</c:v>
                </c:pt>
                <c:pt idx="6">
                  <c:v>2007 kvartal 4</c:v>
                </c:pt>
                <c:pt idx="7">
                  <c:v>2008 kvartal 1</c:v>
                </c:pt>
                <c:pt idx="8">
                  <c:v>2008 kvartal 2</c:v>
                </c:pt>
                <c:pt idx="9">
                  <c:v>2008 kvartal 3</c:v>
                </c:pt>
                <c:pt idx="10">
                  <c:v>2008 kvartal 4</c:v>
                </c:pt>
                <c:pt idx="11">
                  <c:v>2009 kvartal 1</c:v>
                </c:pt>
                <c:pt idx="12">
                  <c:v>2009 kvartal 2</c:v>
                </c:pt>
                <c:pt idx="13">
                  <c:v>2009 kvartal 3</c:v>
                </c:pt>
                <c:pt idx="14">
                  <c:v>2009 kvartal 4</c:v>
                </c:pt>
                <c:pt idx="15">
                  <c:v>2010 kvartal 1</c:v>
                </c:pt>
                <c:pt idx="16">
                  <c:v>2010 kvartal 2</c:v>
                </c:pt>
                <c:pt idx="17">
                  <c:v>2010 kvartal 3</c:v>
                </c:pt>
                <c:pt idx="18">
                  <c:v>2010 kvartal 4</c:v>
                </c:pt>
                <c:pt idx="19">
                  <c:v>2011 kvartal 1</c:v>
                </c:pt>
                <c:pt idx="20">
                  <c:v>2011 kvartal 2</c:v>
                </c:pt>
                <c:pt idx="21">
                  <c:v>2011 kvartal 3</c:v>
                </c:pt>
                <c:pt idx="22">
                  <c:v>2011 kvartal 4</c:v>
                </c:pt>
                <c:pt idx="23">
                  <c:v>2012 kvartal 1</c:v>
                </c:pt>
                <c:pt idx="24">
                  <c:v>2012 kvartal 2</c:v>
                </c:pt>
                <c:pt idx="25">
                  <c:v>2012 kvartal 3</c:v>
                </c:pt>
                <c:pt idx="26">
                  <c:v>2012 kvartal 4</c:v>
                </c:pt>
                <c:pt idx="27">
                  <c:v>2013 kvartal 1</c:v>
                </c:pt>
                <c:pt idx="28">
                  <c:v>2013 kvartal 2</c:v>
                </c:pt>
                <c:pt idx="29">
                  <c:v>2013 kvartal 3</c:v>
                </c:pt>
                <c:pt idx="30">
                  <c:v>2013 kvartal 4</c:v>
                </c:pt>
                <c:pt idx="31">
                  <c:v>2014 kvartal 1</c:v>
                </c:pt>
                <c:pt idx="32">
                  <c:v>2014 kvartal 2</c:v>
                </c:pt>
                <c:pt idx="33">
                  <c:v>2014 kvartal 3</c:v>
                </c:pt>
                <c:pt idx="34">
                  <c:v>2014 kvartal 4</c:v>
                </c:pt>
                <c:pt idx="35">
                  <c:v>2015 kvartal 1</c:v>
                </c:pt>
                <c:pt idx="36">
                  <c:v>2015 kvartal 2</c:v>
                </c:pt>
                <c:pt idx="37">
                  <c:v>2015 kvartal 3</c:v>
                </c:pt>
                <c:pt idx="38">
                  <c:v>2015 kvartal 4</c:v>
                </c:pt>
                <c:pt idx="39">
                  <c:v>2016 kvartal 1</c:v>
                </c:pt>
                <c:pt idx="40">
                  <c:v>2016 kvartal 2</c:v>
                </c:pt>
                <c:pt idx="41">
                  <c:v>2016 kvartal 3</c:v>
                </c:pt>
                <c:pt idx="42">
                  <c:v>2016 kvartal 4</c:v>
                </c:pt>
                <c:pt idx="43">
                  <c:v>2017 kvartal 1</c:v>
                </c:pt>
                <c:pt idx="44">
                  <c:v>2017 kvartal 2</c:v>
                </c:pt>
                <c:pt idx="45">
                  <c:v>2017 kvartal 3</c:v>
                </c:pt>
                <c:pt idx="46">
                  <c:v>2017 kvartal 4</c:v>
                </c:pt>
                <c:pt idx="47">
                  <c:v>2018 kvartal 1</c:v>
                </c:pt>
                <c:pt idx="48">
                  <c:v>2018 kvartal 2</c:v>
                </c:pt>
                <c:pt idx="49">
                  <c:v>2018 kvartal 3</c:v>
                </c:pt>
                <c:pt idx="50">
                  <c:v>2018 kvartal 4</c:v>
                </c:pt>
                <c:pt idx="51">
                  <c:v>2019 kvartal 1</c:v>
                </c:pt>
                <c:pt idx="52">
                  <c:v>2019 kvartal 2</c:v>
                </c:pt>
                <c:pt idx="53">
                  <c:v>2019 kvartal 3</c:v>
                </c:pt>
                <c:pt idx="54">
                  <c:v>2019 kvartal 4</c:v>
                </c:pt>
                <c:pt idx="55">
                  <c:v>2020 kvartal 1</c:v>
                </c:pt>
                <c:pt idx="56">
                  <c:v>2020 kvartal 2</c:v>
                </c:pt>
                <c:pt idx="57">
                  <c:v>2020 kvartal 3</c:v>
                </c:pt>
                <c:pt idx="58">
                  <c:v>2020 kvartal 4</c:v>
                </c:pt>
                <c:pt idx="59">
                  <c:v>2021 kvartal 1</c:v>
                </c:pt>
                <c:pt idx="60">
                  <c:v>2021 kvartal 2</c:v>
                </c:pt>
              </c:strCache>
            </c:strRef>
          </c:cat>
          <c:val>
            <c:numRef>
              <c:f>Konj!$C$29:$C$89</c:f>
              <c:numCache>
                <c:formatCode>General</c:formatCode>
                <c:ptCount val="61"/>
                <c:pt idx="0">
                  <c:v>20</c:v>
                </c:pt>
                <c:pt idx="1">
                  <c:v>20</c:v>
                </c:pt>
                <c:pt idx="2">
                  <c:v>26</c:v>
                </c:pt>
                <c:pt idx="3">
                  <c:v>31</c:v>
                </c:pt>
                <c:pt idx="4">
                  <c:v>28</c:v>
                </c:pt>
                <c:pt idx="5">
                  <c:v>24</c:v>
                </c:pt>
                <c:pt idx="6">
                  <c:v>15</c:v>
                </c:pt>
                <c:pt idx="7">
                  <c:v>16</c:v>
                </c:pt>
                <c:pt idx="8">
                  <c:v>4</c:v>
                </c:pt>
                <c:pt idx="9">
                  <c:v>10</c:v>
                </c:pt>
                <c:pt idx="10">
                  <c:v>-23</c:v>
                </c:pt>
                <c:pt idx="11">
                  <c:v>-46</c:v>
                </c:pt>
                <c:pt idx="12">
                  <c:v>-45</c:v>
                </c:pt>
                <c:pt idx="13">
                  <c:v>-40</c:v>
                </c:pt>
                <c:pt idx="14">
                  <c:v>-28</c:v>
                </c:pt>
                <c:pt idx="15">
                  <c:v>-6</c:v>
                </c:pt>
                <c:pt idx="16">
                  <c:v>5</c:v>
                </c:pt>
                <c:pt idx="17">
                  <c:v>13</c:v>
                </c:pt>
                <c:pt idx="18">
                  <c:v>32</c:v>
                </c:pt>
                <c:pt idx="19">
                  <c:v>17</c:v>
                </c:pt>
                <c:pt idx="20">
                  <c:v>28</c:v>
                </c:pt>
                <c:pt idx="21">
                  <c:v>24</c:v>
                </c:pt>
                <c:pt idx="22">
                  <c:v>13</c:v>
                </c:pt>
                <c:pt idx="23">
                  <c:v>7</c:v>
                </c:pt>
                <c:pt idx="24">
                  <c:v>-1</c:v>
                </c:pt>
                <c:pt idx="25">
                  <c:v>-4</c:v>
                </c:pt>
                <c:pt idx="26">
                  <c:v>-9</c:v>
                </c:pt>
                <c:pt idx="27">
                  <c:v>-17</c:v>
                </c:pt>
                <c:pt idx="28">
                  <c:v>-15</c:v>
                </c:pt>
                <c:pt idx="29">
                  <c:v>-16</c:v>
                </c:pt>
                <c:pt idx="30">
                  <c:v>-5</c:v>
                </c:pt>
                <c:pt idx="31">
                  <c:v>2</c:v>
                </c:pt>
                <c:pt idx="32">
                  <c:v>-5</c:v>
                </c:pt>
                <c:pt idx="33">
                  <c:v>-3</c:v>
                </c:pt>
                <c:pt idx="34">
                  <c:v>-8</c:v>
                </c:pt>
                <c:pt idx="35">
                  <c:v>5</c:v>
                </c:pt>
                <c:pt idx="36">
                  <c:v>7</c:v>
                </c:pt>
                <c:pt idx="37">
                  <c:v>13</c:v>
                </c:pt>
                <c:pt idx="38">
                  <c:v>4</c:v>
                </c:pt>
                <c:pt idx="39">
                  <c:v>4</c:v>
                </c:pt>
                <c:pt idx="40">
                  <c:v>21</c:v>
                </c:pt>
                <c:pt idx="41">
                  <c:v>13</c:v>
                </c:pt>
                <c:pt idx="42">
                  <c:v>19</c:v>
                </c:pt>
                <c:pt idx="43">
                  <c:v>16</c:v>
                </c:pt>
                <c:pt idx="44">
                  <c:v>19</c:v>
                </c:pt>
                <c:pt idx="45">
                  <c:v>17</c:v>
                </c:pt>
                <c:pt idx="46">
                  <c:v>18</c:v>
                </c:pt>
                <c:pt idx="47">
                  <c:v>12</c:v>
                </c:pt>
                <c:pt idx="48">
                  <c:v>18</c:v>
                </c:pt>
                <c:pt idx="49">
                  <c:v>10</c:v>
                </c:pt>
                <c:pt idx="50">
                  <c:v>11</c:v>
                </c:pt>
                <c:pt idx="51">
                  <c:v>6</c:v>
                </c:pt>
                <c:pt idx="52">
                  <c:v>-1</c:v>
                </c:pt>
                <c:pt idx="53">
                  <c:v>-7</c:v>
                </c:pt>
                <c:pt idx="54">
                  <c:v>-20</c:v>
                </c:pt>
                <c:pt idx="55">
                  <c:v>-37</c:v>
                </c:pt>
                <c:pt idx="56">
                  <c:v>-47</c:v>
                </c:pt>
                <c:pt idx="57">
                  <c:v>-39</c:v>
                </c:pt>
                <c:pt idx="58">
                  <c:v>-31</c:v>
                </c:pt>
                <c:pt idx="59">
                  <c:v>0</c:v>
                </c:pt>
                <c:pt idx="60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5E-4900-AFAF-00A8A84B62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62059248"/>
        <c:axId val="2016876560"/>
      </c:lineChart>
      <c:catAx>
        <c:axId val="66205924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ysClr val="windowText" lastClr="000000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2016876560"/>
        <c:crosses val="autoZero"/>
        <c:auto val="1"/>
        <c:lblAlgn val="ctr"/>
        <c:lblOffset val="100"/>
        <c:tickLblSkip val="4"/>
        <c:tickMarkSkip val="4"/>
        <c:noMultiLvlLbl val="0"/>
      </c:catAx>
      <c:valAx>
        <c:axId val="2016876560"/>
        <c:scaling>
          <c:orientation val="minMax"/>
          <c:max val="100"/>
          <c:min val="-100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Nettotal</a:t>
                </a:r>
              </a:p>
            </c:rich>
          </c:tx>
          <c:layout>
            <c:manualLayout>
              <c:xMode val="edge"/>
              <c:yMode val="edge"/>
              <c:x val="2.1420461977136578E-2"/>
              <c:y val="6.5538829091955249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sv-SE"/>
            </a:p>
          </c:txPr>
        </c:title>
        <c:numFmt formatCode="General" sourceLinked="1"/>
        <c:majorTickMark val="in"/>
        <c:minorTickMark val="none"/>
        <c:tickLblPos val="nextTo"/>
        <c:spPr>
          <a:noFill/>
          <a:ln w="6350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662059248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84319621780892606"/>
          <c:y val="0"/>
          <c:w val="0.15652630101998349"/>
          <c:h val="0.162765599494662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451468143649062E-2"/>
          <c:y val="2.7781666666666666E-2"/>
          <c:w val="0.89543211961084168"/>
          <c:h val="0.81037293690155299"/>
        </c:manualLayout>
      </c:layout>
      <c:lineChart>
        <c:grouping val="standard"/>
        <c:varyColors val="0"/>
        <c:ser>
          <c:idx val="1"/>
          <c:order val="0"/>
          <c:tx>
            <c:v>  Malmöregionen</c:v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168"/>
              <c:layout>
                <c:manualLayout>
                  <c:x val="-5.0040787839011561E-3"/>
                  <c:y val="3.647581581608606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C8D-4CD1-938A-3081DE7C68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betslöshet!$A$12:$A$180</c:f>
              <c:numCache>
                <c:formatCode>General</c:formatCode>
                <c:ptCount val="169"/>
                <c:pt idx="0">
                  <c:v>200708</c:v>
                </c:pt>
                <c:pt idx="1">
                  <c:v>200709</c:v>
                </c:pt>
                <c:pt idx="2">
                  <c:v>200710</c:v>
                </c:pt>
                <c:pt idx="3">
                  <c:v>200711</c:v>
                </c:pt>
                <c:pt idx="4">
                  <c:v>200712</c:v>
                </c:pt>
                <c:pt idx="5">
                  <c:v>200801</c:v>
                </c:pt>
                <c:pt idx="6">
                  <c:v>200802</c:v>
                </c:pt>
                <c:pt idx="7">
                  <c:v>200803</c:v>
                </c:pt>
                <c:pt idx="8">
                  <c:v>200804</c:v>
                </c:pt>
                <c:pt idx="9">
                  <c:v>200805</c:v>
                </c:pt>
                <c:pt idx="10">
                  <c:v>200806</c:v>
                </c:pt>
                <c:pt idx="11">
                  <c:v>200807</c:v>
                </c:pt>
                <c:pt idx="12">
                  <c:v>200808</c:v>
                </c:pt>
                <c:pt idx="13">
                  <c:v>200809</c:v>
                </c:pt>
                <c:pt idx="14">
                  <c:v>200810</c:v>
                </c:pt>
                <c:pt idx="15">
                  <c:v>200811</c:v>
                </c:pt>
                <c:pt idx="16">
                  <c:v>200812</c:v>
                </c:pt>
                <c:pt idx="17">
                  <c:v>200901</c:v>
                </c:pt>
                <c:pt idx="18">
                  <c:v>200902</c:v>
                </c:pt>
                <c:pt idx="19">
                  <c:v>200903</c:v>
                </c:pt>
                <c:pt idx="20">
                  <c:v>200904</c:v>
                </c:pt>
                <c:pt idx="21">
                  <c:v>200905</c:v>
                </c:pt>
                <c:pt idx="22">
                  <c:v>200906</c:v>
                </c:pt>
                <c:pt idx="23">
                  <c:v>200907</c:v>
                </c:pt>
                <c:pt idx="24">
                  <c:v>200908</c:v>
                </c:pt>
                <c:pt idx="25">
                  <c:v>200909</c:v>
                </c:pt>
                <c:pt idx="26">
                  <c:v>200910</c:v>
                </c:pt>
                <c:pt idx="27">
                  <c:v>200911</c:v>
                </c:pt>
                <c:pt idx="28">
                  <c:v>200912</c:v>
                </c:pt>
                <c:pt idx="29">
                  <c:v>201001</c:v>
                </c:pt>
                <c:pt idx="30">
                  <c:v>201002</c:v>
                </c:pt>
                <c:pt idx="31">
                  <c:v>201003</c:v>
                </c:pt>
                <c:pt idx="32">
                  <c:v>201004</c:v>
                </c:pt>
                <c:pt idx="33">
                  <c:v>201005</c:v>
                </c:pt>
                <c:pt idx="34">
                  <c:v>201006</c:v>
                </c:pt>
                <c:pt idx="35">
                  <c:v>201007</c:v>
                </c:pt>
                <c:pt idx="36">
                  <c:v>201008</c:v>
                </c:pt>
                <c:pt idx="37">
                  <c:v>201009</c:v>
                </c:pt>
                <c:pt idx="38">
                  <c:v>201010</c:v>
                </c:pt>
                <c:pt idx="39">
                  <c:v>201011</c:v>
                </c:pt>
                <c:pt idx="40">
                  <c:v>201012</c:v>
                </c:pt>
                <c:pt idx="41">
                  <c:v>201101</c:v>
                </c:pt>
                <c:pt idx="42">
                  <c:v>201102</c:v>
                </c:pt>
                <c:pt idx="43">
                  <c:v>201103</c:v>
                </c:pt>
                <c:pt idx="44">
                  <c:v>201104</c:v>
                </c:pt>
                <c:pt idx="45">
                  <c:v>201105</c:v>
                </c:pt>
                <c:pt idx="46">
                  <c:v>201106</c:v>
                </c:pt>
                <c:pt idx="47">
                  <c:v>201107</c:v>
                </c:pt>
                <c:pt idx="48">
                  <c:v>201108</c:v>
                </c:pt>
                <c:pt idx="49">
                  <c:v>201109</c:v>
                </c:pt>
                <c:pt idx="50">
                  <c:v>201110</c:v>
                </c:pt>
                <c:pt idx="51">
                  <c:v>201111</c:v>
                </c:pt>
                <c:pt idx="52">
                  <c:v>201112</c:v>
                </c:pt>
                <c:pt idx="53">
                  <c:v>201201</c:v>
                </c:pt>
                <c:pt idx="54">
                  <c:v>201202</c:v>
                </c:pt>
                <c:pt idx="55">
                  <c:v>201203</c:v>
                </c:pt>
                <c:pt idx="56">
                  <c:v>201204</c:v>
                </c:pt>
                <c:pt idx="57">
                  <c:v>201205</c:v>
                </c:pt>
                <c:pt idx="58">
                  <c:v>201206</c:v>
                </c:pt>
                <c:pt idx="59">
                  <c:v>201207</c:v>
                </c:pt>
                <c:pt idx="60">
                  <c:v>201208</c:v>
                </c:pt>
                <c:pt idx="61">
                  <c:v>201209</c:v>
                </c:pt>
                <c:pt idx="62">
                  <c:v>201210</c:v>
                </c:pt>
                <c:pt idx="63">
                  <c:v>201211</c:v>
                </c:pt>
                <c:pt idx="64">
                  <c:v>201212</c:v>
                </c:pt>
                <c:pt idx="65">
                  <c:v>201301</c:v>
                </c:pt>
                <c:pt idx="66">
                  <c:v>201302</c:v>
                </c:pt>
                <c:pt idx="67">
                  <c:v>201303</c:v>
                </c:pt>
                <c:pt idx="68">
                  <c:v>201304</c:v>
                </c:pt>
                <c:pt idx="69">
                  <c:v>201305</c:v>
                </c:pt>
                <c:pt idx="70">
                  <c:v>201306</c:v>
                </c:pt>
                <c:pt idx="71">
                  <c:v>201307</c:v>
                </c:pt>
                <c:pt idx="72">
                  <c:v>201308</c:v>
                </c:pt>
                <c:pt idx="73">
                  <c:v>201309</c:v>
                </c:pt>
                <c:pt idx="74">
                  <c:v>201310</c:v>
                </c:pt>
                <c:pt idx="75">
                  <c:v>201311</c:v>
                </c:pt>
                <c:pt idx="76">
                  <c:v>201312</c:v>
                </c:pt>
                <c:pt idx="77">
                  <c:v>201401</c:v>
                </c:pt>
                <c:pt idx="78">
                  <c:v>201402</c:v>
                </c:pt>
                <c:pt idx="79">
                  <c:v>201403</c:v>
                </c:pt>
                <c:pt idx="80">
                  <c:v>201404</c:v>
                </c:pt>
                <c:pt idx="81">
                  <c:v>201405</c:v>
                </c:pt>
                <c:pt idx="82">
                  <c:v>201406</c:v>
                </c:pt>
                <c:pt idx="83">
                  <c:v>201407</c:v>
                </c:pt>
                <c:pt idx="84">
                  <c:v>201408</c:v>
                </c:pt>
                <c:pt idx="85">
                  <c:v>201409</c:v>
                </c:pt>
                <c:pt idx="86">
                  <c:v>201410</c:v>
                </c:pt>
                <c:pt idx="87">
                  <c:v>201411</c:v>
                </c:pt>
                <c:pt idx="88">
                  <c:v>201412</c:v>
                </c:pt>
                <c:pt idx="89">
                  <c:v>201501</c:v>
                </c:pt>
                <c:pt idx="90">
                  <c:v>201502</c:v>
                </c:pt>
                <c:pt idx="91">
                  <c:v>201503</c:v>
                </c:pt>
                <c:pt idx="92">
                  <c:v>201504</c:v>
                </c:pt>
                <c:pt idx="93">
                  <c:v>201505</c:v>
                </c:pt>
                <c:pt idx="94">
                  <c:v>201506</c:v>
                </c:pt>
                <c:pt idx="95">
                  <c:v>201507</c:v>
                </c:pt>
                <c:pt idx="96">
                  <c:v>201508</c:v>
                </c:pt>
                <c:pt idx="97">
                  <c:v>201509</c:v>
                </c:pt>
                <c:pt idx="98">
                  <c:v>201510</c:v>
                </c:pt>
                <c:pt idx="99">
                  <c:v>201511</c:v>
                </c:pt>
                <c:pt idx="100">
                  <c:v>201512</c:v>
                </c:pt>
                <c:pt idx="101">
                  <c:v>201601</c:v>
                </c:pt>
                <c:pt idx="102">
                  <c:v>201602</c:v>
                </c:pt>
                <c:pt idx="103">
                  <c:v>201603</c:v>
                </c:pt>
                <c:pt idx="104">
                  <c:v>201604</c:v>
                </c:pt>
                <c:pt idx="105">
                  <c:v>201605</c:v>
                </c:pt>
                <c:pt idx="106">
                  <c:v>201606</c:v>
                </c:pt>
                <c:pt idx="107">
                  <c:v>201607</c:v>
                </c:pt>
                <c:pt idx="108">
                  <c:v>201608</c:v>
                </c:pt>
                <c:pt idx="109">
                  <c:v>201609</c:v>
                </c:pt>
                <c:pt idx="110">
                  <c:v>201610</c:v>
                </c:pt>
                <c:pt idx="111">
                  <c:v>201611</c:v>
                </c:pt>
                <c:pt idx="112">
                  <c:v>201612</c:v>
                </c:pt>
                <c:pt idx="113">
                  <c:v>201701</c:v>
                </c:pt>
                <c:pt idx="114">
                  <c:v>201702</c:v>
                </c:pt>
                <c:pt idx="115">
                  <c:v>201703</c:v>
                </c:pt>
                <c:pt idx="116">
                  <c:v>201704</c:v>
                </c:pt>
                <c:pt idx="117">
                  <c:v>201705</c:v>
                </c:pt>
                <c:pt idx="118">
                  <c:v>201706</c:v>
                </c:pt>
                <c:pt idx="119">
                  <c:v>201707</c:v>
                </c:pt>
                <c:pt idx="120">
                  <c:v>201708</c:v>
                </c:pt>
                <c:pt idx="121">
                  <c:v>201709</c:v>
                </c:pt>
                <c:pt idx="122">
                  <c:v>201710</c:v>
                </c:pt>
                <c:pt idx="123">
                  <c:v>201711</c:v>
                </c:pt>
                <c:pt idx="124">
                  <c:v>201712</c:v>
                </c:pt>
                <c:pt idx="125">
                  <c:v>201801</c:v>
                </c:pt>
                <c:pt idx="126">
                  <c:v>201802</c:v>
                </c:pt>
                <c:pt idx="127">
                  <c:v>201803</c:v>
                </c:pt>
                <c:pt idx="128">
                  <c:v>201804</c:v>
                </c:pt>
                <c:pt idx="129">
                  <c:v>201805</c:v>
                </c:pt>
                <c:pt idx="130">
                  <c:v>201806</c:v>
                </c:pt>
                <c:pt idx="131">
                  <c:v>201807</c:v>
                </c:pt>
                <c:pt idx="132">
                  <c:v>201808</c:v>
                </c:pt>
                <c:pt idx="133">
                  <c:v>201809</c:v>
                </c:pt>
                <c:pt idx="134">
                  <c:v>201810</c:v>
                </c:pt>
                <c:pt idx="135">
                  <c:v>201811</c:v>
                </c:pt>
                <c:pt idx="136">
                  <c:v>201812</c:v>
                </c:pt>
                <c:pt idx="137">
                  <c:v>201901</c:v>
                </c:pt>
                <c:pt idx="138">
                  <c:v>201902</c:v>
                </c:pt>
                <c:pt idx="139">
                  <c:v>201903</c:v>
                </c:pt>
                <c:pt idx="140">
                  <c:v>201904</c:v>
                </c:pt>
                <c:pt idx="141">
                  <c:v>201905</c:v>
                </c:pt>
                <c:pt idx="142">
                  <c:v>201906</c:v>
                </c:pt>
                <c:pt idx="143">
                  <c:v>201907</c:v>
                </c:pt>
                <c:pt idx="144">
                  <c:v>201908</c:v>
                </c:pt>
                <c:pt idx="145">
                  <c:v>201909</c:v>
                </c:pt>
                <c:pt idx="146">
                  <c:v>201910</c:v>
                </c:pt>
                <c:pt idx="147">
                  <c:v>201911</c:v>
                </c:pt>
                <c:pt idx="148">
                  <c:v>201912</c:v>
                </c:pt>
                <c:pt idx="149">
                  <c:v>202001</c:v>
                </c:pt>
                <c:pt idx="150">
                  <c:v>202002</c:v>
                </c:pt>
                <c:pt idx="151">
                  <c:v>202003</c:v>
                </c:pt>
                <c:pt idx="152">
                  <c:v>202004</c:v>
                </c:pt>
                <c:pt idx="153">
                  <c:v>202005</c:v>
                </c:pt>
                <c:pt idx="154">
                  <c:v>202006</c:v>
                </c:pt>
                <c:pt idx="155">
                  <c:v>202007</c:v>
                </c:pt>
                <c:pt idx="156">
                  <c:v>202008</c:v>
                </c:pt>
                <c:pt idx="157">
                  <c:v>202009</c:v>
                </c:pt>
                <c:pt idx="158">
                  <c:v>202010</c:v>
                </c:pt>
                <c:pt idx="159">
                  <c:v>202011</c:v>
                </c:pt>
                <c:pt idx="160">
                  <c:v>202012</c:v>
                </c:pt>
                <c:pt idx="161">
                  <c:v>202101</c:v>
                </c:pt>
                <c:pt idx="162">
                  <c:v>202102</c:v>
                </c:pt>
                <c:pt idx="163">
                  <c:v>202103</c:v>
                </c:pt>
                <c:pt idx="164">
                  <c:v>202104</c:v>
                </c:pt>
                <c:pt idx="165">
                  <c:v>202105</c:v>
                </c:pt>
                <c:pt idx="166">
                  <c:v>202106</c:v>
                </c:pt>
                <c:pt idx="167">
                  <c:v>202107</c:v>
                </c:pt>
                <c:pt idx="168">
                  <c:v>202108</c:v>
                </c:pt>
              </c:numCache>
            </c:numRef>
          </c:cat>
          <c:val>
            <c:numRef>
              <c:f>Arbetslöshet!$P$12:$P$180</c:f>
              <c:numCache>
                <c:formatCode>0.0%</c:formatCode>
                <c:ptCount val="169"/>
                <c:pt idx="0">
                  <c:v>5.744832762755616E-2</c:v>
                </c:pt>
                <c:pt idx="1">
                  <c:v>5.4863273218586618E-2</c:v>
                </c:pt>
                <c:pt idx="2">
                  <c:v>5.4210448967594971E-2</c:v>
                </c:pt>
                <c:pt idx="3">
                  <c:v>5.3375744649555051E-2</c:v>
                </c:pt>
                <c:pt idx="4">
                  <c:v>5.580272814967778E-2</c:v>
                </c:pt>
                <c:pt idx="5">
                  <c:v>5.4966139555300671E-2</c:v>
                </c:pt>
                <c:pt idx="6">
                  <c:v>5.424631910099622E-2</c:v>
                </c:pt>
                <c:pt idx="7">
                  <c:v>5.3105757498368378E-2</c:v>
                </c:pt>
                <c:pt idx="8">
                  <c:v>5.1238036343217011E-2</c:v>
                </c:pt>
                <c:pt idx="9">
                  <c:v>4.9589689730672695E-2</c:v>
                </c:pt>
                <c:pt idx="10">
                  <c:v>5.3068811033034548E-2</c:v>
                </c:pt>
                <c:pt idx="11">
                  <c:v>5.4695080063172356E-2</c:v>
                </c:pt>
                <c:pt idx="12">
                  <c:v>5.4721858291137002E-2</c:v>
                </c:pt>
                <c:pt idx="13">
                  <c:v>5.4681690380243488E-2</c:v>
                </c:pt>
                <c:pt idx="14">
                  <c:v>5.6005431515520128E-2</c:v>
                </c:pt>
                <c:pt idx="15">
                  <c:v>5.8641822939073156E-2</c:v>
                </c:pt>
                <c:pt idx="16">
                  <c:v>6.2999947350871346E-2</c:v>
                </c:pt>
                <c:pt idx="17">
                  <c:v>6.6841009875669946E-2</c:v>
                </c:pt>
                <c:pt idx="18">
                  <c:v>6.9480145138865343E-2</c:v>
                </c:pt>
                <c:pt idx="19">
                  <c:v>7.1360161360736682E-2</c:v>
                </c:pt>
                <c:pt idx="20">
                  <c:v>7.2380430814165758E-2</c:v>
                </c:pt>
                <c:pt idx="21">
                  <c:v>7.3260766043101319E-2</c:v>
                </c:pt>
                <c:pt idx="22">
                  <c:v>8.0080325054980417E-2</c:v>
                </c:pt>
                <c:pt idx="23">
                  <c:v>8.3870300011351415E-2</c:v>
                </c:pt>
                <c:pt idx="24">
                  <c:v>8.550680201827647E-2</c:v>
                </c:pt>
                <c:pt idx="25">
                  <c:v>8.5954597691577428E-2</c:v>
                </c:pt>
                <c:pt idx="26">
                  <c:v>8.7556362475559632E-2</c:v>
                </c:pt>
                <c:pt idx="27">
                  <c:v>8.8641270052143881E-2</c:v>
                </c:pt>
                <c:pt idx="28">
                  <c:v>9.2117931598084984E-2</c:v>
                </c:pt>
                <c:pt idx="29">
                  <c:v>9.5876038531400212E-2</c:v>
                </c:pt>
                <c:pt idx="30">
                  <c:v>9.6000524521374239E-2</c:v>
                </c:pt>
                <c:pt idx="31">
                  <c:v>9.5217471191957379E-2</c:v>
                </c:pt>
                <c:pt idx="32">
                  <c:v>9.2672108870397243E-2</c:v>
                </c:pt>
                <c:pt idx="33">
                  <c:v>9.0508512589133172E-2</c:v>
                </c:pt>
                <c:pt idx="34">
                  <c:v>9.4590645674979074E-2</c:v>
                </c:pt>
                <c:pt idx="35">
                  <c:v>9.6264203009219049E-2</c:v>
                </c:pt>
                <c:pt idx="36">
                  <c:v>9.5202627546584151E-2</c:v>
                </c:pt>
                <c:pt idx="37">
                  <c:v>9.4180213975764301E-2</c:v>
                </c:pt>
                <c:pt idx="38">
                  <c:v>9.3823014258626977E-2</c:v>
                </c:pt>
                <c:pt idx="39">
                  <c:v>9.2752707700001311E-2</c:v>
                </c:pt>
                <c:pt idx="40">
                  <c:v>9.3823014258626977E-2</c:v>
                </c:pt>
                <c:pt idx="41">
                  <c:v>9.7483391321253082E-2</c:v>
                </c:pt>
                <c:pt idx="42">
                  <c:v>9.6817367619533204E-2</c:v>
                </c:pt>
                <c:pt idx="43">
                  <c:v>9.4849900830335829E-2</c:v>
                </c:pt>
                <c:pt idx="44">
                  <c:v>9.2724068564188786E-2</c:v>
                </c:pt>
                <c:pt idx="45">
                  <c:v>9.1379996895395055E-2</c:v>
                </c:pt>
                <c:pt idx="46">
                  <c:v>9.5315214213955238E-2</c:v>
                </c:pt>
                <c:pt idx="47">
                  <c:v>9.6865838850986472E-2</c:v>
                </c:pt>
                <c:pt idx="48">
                  <c:v>9.675071118029091E-2</c:v>
                </c:pt>
                <c:pt idx="49">
                  <c:v>9.5959172024778827E-2</c:v>
                </c:pt>
                <c:pt idx="50">
                  <c:v>9.5470212379986166E-2</c:v>
                </c:pt>
                <c:pt idx="51">
                  <c:v>9.5834704527290676E-2</c:v>
                </c:pt>
                <c:pt idx="52">
                  <c:v>9.8725016652775402E-2</c:v>
                </c:pt>
                <c:pt idx="53">
                  <c:v>9.7112467941624467E-2</c:v>
                </c:pt>
                <c:pt idx="54">
                  <c:v>9.7265248743914817E-2</c:v>
                </c:pt>
                <c:pt idx="55">
                  <c:v>9.6338956770438022E-2</c:v>
                </c:pt>
                <c:pt idx="56">
                  <c:v>9.5617192186318228E-2</c:v>
                </c:pt>
                <c:pt idx="57">
                  <c:v>9.3752960508047684E-2</c:v>
                </c:pt>
                <c:pt idx="58">
                  <c:v>9.7652844819734838E-2</c:v>
                </c:pt>
                <c:pt idx="59">
                  <c:v>9.9787451527590734E-2</c:v>
                </c:pt>
                <c:pt idx="60">
                  <c:v>0.10042674068693577</c:v>
                </c:pt>
                <c:pt idx="61">
                  <c:v>9.978453031502707E-2</c:v>
                </c:pt>
                <c:pt idx="62">
                  <c:v>0.10005320253295961</c:v>
                </c:pt>
                <c:pt idx="63">
                  <c:v>0.10021666363943019</c:v>
                </c:pt>
                <c:pt idx="64">
                  <c:v>0.10263825272364982</c:v>
                </c:pt>
                <c:pt idx="65">
                  <c:v>0.10374045801526717</c:v>
                </c:pt>
                <c:pt idx="66">
                  <c:v>0.10378891726592392</c:v>
                </c:pt>
                <c:pt idx="67">
                  <c:v>0.1027416016557873</c:v>
                </c:pt>
                <c:pt idx="68">
                  <c:v>0.10166319702365202</c:v>
                </c:pt>
                <c:pt idx="69">
                  <c:v>9.9461180034898664E-2</c:v>
                </c:pt>
                <c:pt idx="70">
                  <c:v>0.10393996247654784</c:v>
                </c:pt>
                <c:pt idx="71">
                  <c:v>0.10554132424222225</c:v>
                </c:pt>
                <c:pt idx="72">
                  <c:v>0.1061343348919243</c:v>
                </c:pt>
                <c:pt idx="73">
                  <c:v>0.10578259572604548</c:v>
                </c:pt>
                <c:pt idx="74">
                  <c:v>0.10597551921722412</c:v>
                </c:pt>
                <c:pt idx="75">
                  <c:v>0.10580813449815471</c:v>
                </c:pt>
                <c:pt idx="76">
                  <c:v>0.10803855467451688</c:v>
                </c:pt>
                <c:pt idx="77">
                  <c:v>0.10738930734428301</c:v>
                </c:pt>
                <c:pt idx="78">
                  <c:v>0.10579284336081389</c:v>
                </c:pt>
                <c:pt idx="79">
                  <c:v>0.1034789217164104</c:v>
                </c:pt>
                <c:pt idx="80">
                  <c:v>0.10112469222098376</c:v>
                </c:pt>
                <c:pt idx="81">
                  <c:v>9.9630682086977368E-2</c:v>
                </c:pt>
                <c:pt idx="82">
                  <c:v>0.10256579526450137</c:v>
                </c:pt>
                <c:pt idx="83">
                  <c:v>0.10397978720065283</c:v>
                </c:pt>
                <c:pt idx="84">
                  <c:v>0.10435366423733228</c:v>
                </c:pt>
                <c:pt idx="85">
                  <c:v>0.10365625834000534</c:v>
                </c:pt>
                <c:pt idx="86">
                  <c:v>0.10253758275751498</c:v>
                </c:pt>
                <c:pt idx="87">
                  <c:v>0.10197295988021315</c:v>
                </c:pt>
                <c:pt idx="88">
                  <c:v>0.10403602925022754</c:v>
                </c:pt>
                <c:pt idx="89">
                  <c:v>0.1047507776061848</c:v>
                </c:pt>
                <c:pt idx="90">
                  <c:v>0.10411328640015921</c:v>
                </c:pt>
                <c:pt idx="91">
                  <c:v>0.10193508970986123</c:v>
                </c:pt>
                <c:pt idx="92">
                  <c:v>0.100479873116178</c:v>
                </c:pt>
                <c:pt idx="93">
                  <c:v>9.9022750371354856E-2</c:v>
                </c:pt>
                <c:pt idx="94">
                  <c:v>0.10249181492223008</c:v>
                </c:pt>
                <c:pt idx="95">
                  <c:v>0.10394610800791212</c:v>
                </c:pt>
                <c:pt idx="96">
                  <c:v>0.10458105420188961</c:v>
                </c:pt>
                <c:pt idx="97">
                  <c:v>0.10413000080846274</c:v>
                </c:pt>
                <c:pt idx="98">
                  <c:v>0.10352231003796129</c:v>
                </c:pt>
                <c:pt idx="99">
                  <c:v>0.10286071936800739</c:v>
                </c:pt>
                <c:pt idx="100">
                  <c:v>0.1039656153685867</c:v>
                </c:pt>
                <c:pt idx="101">
                  <c:v>0.10465205501315171</c:v>
                </c:pt>
                <c:pt idx="102">
                  <c:v>0.10436066771669016</c:v>
                </c:pt>
                <c:pt idx="103">
                  <c:v>0.10296157122254374</c:v>
                </c:pt>
                <c:pt idx="104">
                  <c:v>0.10102373512317488</c:v>
                </c:pt>
                <c:pt idx="105">
                  <c:v>9.9397367186149319E-2</c:v>
                </c:pt>
                <c:pt idx="106">
                  <c:v>0.1006883965262642</c:v>
                </c:pt>
                <c:pt idx="107">
                  <c:v>0.10121208013162192</c:v>
                </c:pt>
                <c:pt idx="108">
                  <c:v>0.10119269531887885</c:v>
                </c:pt>
                <c:pt idx="109">
                  <c:v>0.1009821778028433</c:v>
                </c:pt>
                <c:pt idx="110">
                  <c:v>0.10104866767126749</c:v>
                </c:pt>
                <c:pt idx="111">
                  <c:v>0.10119823392212866</c:v>
                </c:pt>
                <c:pt idx="112">
                  <c:v>0.1027160038140937</c:v>
                </c:pt>
                <c:pt idx="113">
                  <c:v>0.10238253211894566</c:v>
                </c:pt>
                <c:pt idx="114">
                  <c:v>0.1027586601913065</c:v>
                </c:pt>
                <c:pt idx="115">
                  <c:v>0.10234733854696035</c:v>
                </c:pt>
                <c:pt idx="116">
                  <c:v>0.10118982907531558</c:v>
                </c:pt>
                <c:pt idx="117">
                  <c:v>0.10019529950963497</c:v>
                </c:pt>
                <c:pt idx="118">
                  <c:v>0.10260175299477478</c:v>
                </c:pt>
                <c:pt idx="119">
                  <c:v>0.1039067392456284</c:v>
                </c:pt>
                <c:pt idx="120">
                  <c:v>0.10323715862800395</c:v>
                </c:pt>
                <c:pt idx="121">
                  <c:v>0.10291010473965791</c:v>
                </c:pt>
                <c:pt idx="122">
                  <c:v>0.10237441077034896</c:v>
                </c:pt>
                <c:pt idx="123">
                  <c:v>0.10148558939045854</c:v>
                </c:pt>
                <c:pt idx="124">
                  <c:v>0.10253951597826545</c:v>
                </c:pt>
                <c:pt idx="125">
                  <c:v>0.10111385156289043</c:v>
                </c:pt>
                <c:pt idx="126">
                  <c:v>0.10039452896301548</c:v>
                </c:pt>
                <c:pt idx="127">
                  <c:v>9.8758554830494991E-2</c:v>
                </c:pt>
                <c:pt idx="128">
                  <c:v>9.68392697327808E-2</c:v>
                </c:pt>
                <c:pt idx="129">
                  <c:v>9.6150492310148009E-2</c:v>
                </c:pt>
                <c:pt idx="130">
                  <c:v>9.7257895948842404E-2</c:v>
                </c:pt>
                <c:pt idx="131">
                  <c:v>9.8458290704633966E-2</c:v>
                </c:pt>
                <c:pt idx="132">
                  <c:v>9.8455632606849697E-2</c:v>
                </c:pt>
                <c:pt idx="133">
                  <c:v>9.7542979414151854E-2</c:v>
                </c:pt>
                <c:pt idx="134">
                  <c:v>9.689795412055538E-2</c:v>
                </c:pt>
                <c:pt idx="135">
                  <c:v>9.5976797403012085E-2</c:v>
                </c:pt>
                <c:pt idx="136">
                  <c:v>9.6993966670505791E-2</c:v>
                </c:pt>
                <c:pt idx="137">
                  <c:v>9.6120172720699476E-2</c:v>
                </c:pt>
                <c:pt idx="138">
                  <c:v>9.6217277182876121E-2</c:v>
                </c:pt>
                <c:pt idx="139">
                  <c:v>9.6227773712878759E-2</c:v>
                </c:pt>
                <c:pt idx="140">
                  <c:v>9.4845384807756061E-2</c:v>
                </c:pt>
                <c:pt idx="141">
                  <c:v>9.4605797059294061E-2</c:v>
                </c:pt>
                <c:pt idx="142">
                  <c:v>9.7294522633613573E-2</c:v>
                </c:pt>
                <c:pt idx="143">
                  <c:v>9.8092279876218408E-2</c:v>
                </c:pt>
                <c:pt idx="144">
                  <c:v>9.8593751809936403E-2</c:v>
                </c:pt>
                <c:pt idx="145">
                  <c:v>9.7982508505224844E-2</c:v>
                </c:pt>
                <c:pt idx="146">
                  <c:v>9.8366591450892021E-2</c:v>
                </c:pt>
                <c:pt idx="147">
                  <c:v>9.9271940181031096E-2</c:v>
                </c:pt>
                <c:pt idx="148">
                  <c:v>0.10125109358803709</c:v>
                </c:pt>
                <c:pt idx="149">
                  <c:v>0.10087442146431438</c:v>
                </c:pt>
                <c:pt idx="150">
                  <c:v>9.9510812860262379E-2</c:v>
                </c:pt>
                <c:pt idx="151">
                  <c:v>0.10136042422932053</c:v>
                </c:pt>
                <c:pt idx="152">
                  <c:v>0.1073308860308767</c:v>
                </c:pt>
                <c:pt idx="153">
                  <c:v>0.11217073088468414</c:v>
                </c:pt>
                <c:pt idx="154">
                  <c:v>0.11935375951378628</c:v>
                </c:pt>
                <c:pt idx="155">
                  <c:v>0.12186802403000137</c:v>
                </c:pt>
                <c:pt idx="156">
                  <c:v>0.12053066792883593</c:v>
                </c:pt>
                <c:pt idx="157">
                  <c:v>0.11767860584510445</c:v>
                </c:pt>
                <c:pt idx="158">
                  <c:v>0.11543017482546857</c:v>
                </c:pt>
                <c:pt idx="159">
                  <c:v>0.11542769771883349</c:v>
                </c:pt>
                <c:pt idx="160">
                  <c:v>0.116429792197548</c:v>
                </c:pt>
                <c:pt idx="161">
                  <c:v>0.11445048877254693</c:v>
                </c:pt>
                <c:pt idx="162">
                  <c:v>0.11348840002511348</c:v>
                </c:pt>
                <c:pt idx="163">
                  <c:v>0.11089391898551201</c:v>
                </c:pt>
                <c:pt idx="164">
                  <c:v>0.10736019262166664</c:v>
                </c:pt>
                <c:pt idx="165">
                  <c:v>0.1047814893018794</c:v>
                </c:pt>
                <c:pt idx="166">
                  <c:v>0.10533391368547484</c:v>
                </c:pt>
                <c:pt idx="167">
                  <c:v>0.10512190283043824</c:v>
                </c:pt>
                <c:pt idx="168">
                  <c:v>0.102502950092993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C8D-4CD1-938A-3081DE7C68EC}"/>
            </c:ext>
          </c:extLst>
        </c:ser>
        <c:ser>
          <c:idx val="3"/>
          <c:order val="1"/>
          <c:tx>
            <c:v>  Sverige</c:v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8"/>
              <c:layout>
                <c:manualLayout>
                  <c:x val="-1.2080942313500453E-3"/>
                  <c:y val="-6.470327031202116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C8D-4CD1-938A-3081DE7C68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accent4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betslöshet!$A$12:$A$180</c:f>
              <c:numCache>
                <c:formatCode>General</c:formatCode>
                <c:ptCount val="169"/>
                <c:pt idx="0">
                  <c:v>200708</c:v>
                </c:pt>
                <c:pt idx="1">
                  <c:v>200709</c:v>
                </c:pt>
                <c:pt idx="2">
                  <c:v>200710</c:v>
                </c:pt>
                <c:pt idx="3">
                  <c:v>200711</c:v>
                </c:pt>
                <c:pt idx="4">
                  <c:v>200712</c:v>
                </c:pt>
                <c:pt idx="5">
                  <c:v>200801</c:v>
                </c:pt>
                <c:pt idx="6">
                  <c:v>200802</c:v>
                </c:pt>
                <c:pt idx="7">
                  <c:v>200803</c:v>
                </c:pt>
                <c:pt idx="8">
                  <c:v>200804</c:v>
                </c:pt>
                <c:pt idx="9">
                  <c:v>200805</c:v>
                </c:pt>
                <c:pt idx="10">
                  <c:v>200806</c:v>
                </c:pt>
                <c:pt idx="11">
                  <c:v>200807</c:v>
                </c:pt>
                <c:pt idx="12">
                  <c:v>200808</c:v>
                </c:pt>
                <c:pt idx="13">
                  <c:v>200809</c:v>
                </c:pt>
                <c:pt idx="14">
                  <c:v>200810</c:v>
                </c:pt>
                <c:pt idx="15">
                  <c:v>200811</c:v>
                </c:pt>
                <c:pt idx="16">
                  <c:v>200812</c:v>
                </c:pt>
                <c:pt idx="17">
                  <c:v>200901</c:v>
                </c:pt>
                <c:pt idx="18">
                  <c:v>200902</c:v>
                </c:pt>
                <c:pt idx="19">
                  <c:v>200903</c:v>
                </c:pt>
                <c:pt idx="20">
                  <c:v>200904</c:v>
                </c:pt>
                <c:pt idx="21">
                  <c:v>200905</c:v>
                </c:pt>
                <c:pt idx="22">
                  <c:v>200906</c:v>
                </c:pt>
                <c:pt idx="23">
                  <c:v>200907</c:v>
                </c:pt>
                <c:pt idx="24">
                  <c:v>200908</c:v>
                </c:pt>
                <c:pt idx="25">
                  <c:v>200909</c:v>
                </c:pt>
                <c:pt idx="26">
                  <c:v>200910</c:v>
                </c:pt>
                <c:pt idx="27">
                  <c:v>200911</c:v>
                </c:pt>
                <c:pt idx="28">
                  <c:v>200912</c:v>
                </c:pt>
                <c:pt idx="29">
                  <c:v>201001</c:v>
                </c:pt>
                <c:pt idx="30">
                  <c:v>201002</c:v>
                </c:pt>
                <c:pt idx="31">
                  <c:v>201003</c:v>
                </c:pt>
                <c:pt idx="32">
                  <c:v>201004</c:v>
                </c:pt>
                <c:pt idx="33">
                  <c:v>201005</c:v>
                </c:pt>
                <c:pt idx="34">
                  <c:v>201006</c:v>
                </c:pt>
                <c:pt idx="35">
                  <c:v>201007</c:v>
                </c:pt>
                <c:pt idx="36">
                  <c:v>201008</c:v>
                </c:pt>
                <c:pt idx="37">
                  <c:v>201009</c:v>
                </c:pt>
                <c:pt idx="38">
                  <c:v>201010</c:v>
                </c:pt>
                <c:pt idx="39">
                  <c:v>201011</c:v>
                </c:pt>
                <c:pt idx="40">
                  <c:v>201012</c:v>
                </c:pt>
                <c:pt idx="41">
                  <c:v>201101</c:v>
                </c:pt>
                <c:pt idx="42">
                  <c:v>201102</c:v>
                </c:pt>
                <c:pt idx="43">
                  <c:v>201103</c:v>
                </c:pt>
                <c:pt idx="44">
                  <c:v>201104</c:v>
                </c:pt>
                <c:pt idx="45">
                  <c:v>201105</c:v>
                </c:pt>
                <c:pt idx="46">
                  <c:v>201106</c:v>
                </c:pt>
                <c:pt idx="47">
                  <c:v>201107</c:v>
                </c:pt>
                <c:pt idx="48">
                  <c:v>201108</c:v>
                </c:pt>
                <c:pt idx="49">
                  <c:v>201109</c:v>
                </c:pt>
                <c:pt idx="50">
                  <c:v>201110</c:v>
                </c:pt>
                <c:pt idx="51">
                  <c:v>201111</c:v>
                </c:pt>
                <c:pt idx="52">
                  <c:v>201112</c:v>
                </c:pt>
                <c:pt idx="53">
                  <c:v>201201</c:v>
                </c:pt>
                <c:pt idx="54">
                  <c:v>201202</c:v>
                </c:pt>
                <c:pt idx="55">
                  <c:v>201203</c:v>
                </c:pt>
                <c:pt idx="56">
                  <c:v>201204</c:v>
                </c:pt>
                <c:pt idx="57">
                  <c:v>201205</c:v>
                </c:pt>
                <c:pt idx="58">
                  <c:v>201206</c:v>
                </c:pt>
                <c:pt idx="59">
                  <c:v>201207</c:v>
                </c:pt>
                <c:pt idx="60">
                  <c:v>201208</c:v>
                </c:pt>
                <c:pt idx="61">
                  <c:v>201209</c:v>
                </c:pt>
                <c:pt idx="62">
                  <c:v>201210</c:v>
                </c:pt>
                <c:pt idx="63">
                  <c:v>201211</c:v>
                </c:pt>
                <c:pt idx="64">
                  <c:v>201212</c:v>
                </c:pt>
                <c:pt idx="65">
                  <c:v>201301</c:v>
                </c:pt>
                <c:pt idx="66">
                  <c:v>201302</c:v>
                </c:pt>
                <c:pt idx="67">
                  <c:v>201303</c:v>
                </c:pt>
                <c:pt idx="68">
                  <c:v>201304</c:v>
                </c:pt>
                <c:pt idx="69">
                  <c:v>201305</c:v>
                </c:pt>
                <c:pt idx="70">
                  <c:v>201306</c:v>
                </c:pt>
                <c:pt idx="71">
                  <c:v>201307</c:v>
                </c:pt>
                <c:pt idx="72">
                  <c:v>201308</c:v>
                </c:pt>
                <c:pt idx="73">
                  <c:v>201309</c:v>
                </c:pt>
                <c:pt idx="74">
                  <c:v>201310</c:v>
                </c:pt>
                <c:pt idx="75">
                  <c:v>201311</c:v>
                </c:pt>
                <c:pt idx="76">
                  <c:v>201312</c:v>
                </c:pt>
                <c:pt idx="77">
                  <c:v>201401</c:v>
                </c:pt>
                <c:pt idx="78">
                  <c:v>201402</c:v>
                </c:pt>
                <c:pt idx="79">
                  <c:v>201403</c:v>
                </c:pt>
                <c:pt idx="80">
                  <c:v>201404</c:v>
                </c:pt>
                <c:pt idx="81">
                  <c:v>201405</c:v>
                </c:pt>
                <c:pt idx="82">
                  <c:v>201406</c:v>
                </c:pt>
                <c:pt idx="83">
                  <c:v>201407</c:v>
                </c:pt>
                <c:pt idx="84">
                  <c:v>201408</c:v>
                </c:pt>
                <c:pt idx="85">
                  <c:v>201409</c:v>
                </c:pt>
                <c:pt idx="86">
                  <c:v>201410</c:v>
                </c:pt>
                <c:pt idx="87">
                  <c:v>201411</c:v>
                </c:pt>
                <c:pt idx="88">
                  <c:v>201412</c:v>
                </c:pt>
                <c:pt idx="89">
                  <c:v>201501</c:v>
                </c:pt>
                <c:pt idx="90">
                  <c:v>201502</c:v>
                </c:pt>
                <c:pt idx="91">
                  <c:v>201503</c:v>
                </c:pt>
                <c:pt idx="92">
                  <c:v>201504</c:v>
                </c:pt>
                <c:pt idx="93">
                  <c:v>201505</c:v>
                </c:pt>
                <c:pt idx="94">
                  <c:v>201506</c:v>
                </c:pt>
                <c:pt idx="95">
                  <c:v>201507</c:v>
                </c:pt>
                <c:pt idx="96">
                  <c:v>201508</c:v>
                </c:pt>
                <c:pt idx="97">
                  <c:v>201509</c:v>
                </c:pt>
                <c:pt idx="98">
                  <c:v>201510</c:v>
                </c:pt>
                <c:pt idx="99">
                  <c:v>201511</c:v>
                </c:pt>
                <c:pt idx="100">
                  <c:v>201512</c:v>
                </c:pt>
                <c:pt idx="101">
                  <c:v>201601</c:v>
                </c:pt>
                <c:pt idx="102">
                  <c:v>201602</c:v>
                </c:pt>
                <c:pt idx="103">
                  <c:v>201603</c:v>
                </c:pt>
                <c:pt idx="104">
                  <c:v>201604</c:v>
                </c:pt>
                <c:pt idx="105">
                  <c:v>201605</c:v>
                </c:pt>
                <c:pt idx="106">
                  <c:v>201606</c:v>
                </c:pt>
                <c:pt idx="107">
                  <c:v>201607</c:v>
                </c:pt>
                <c:pt idx="108">
                  <c:v>201608</c:v>
                </c:pt>
                <c:pt idx="109">
                  <c:v>201609</c:v>
                </c:pt>
                <c:pt idx="110">
                  <c:v>201610</c:v>
                </c:pt>
                <c:pt idx="111">
                  <c:v>201611</c:v>
                </c:pt>
                <c:pt idx="112">
                  <c:v>201612</c:v>
                </c:pt>
                <c:pt idx="113">
                  <c:v>201701</c:v>
                </c:pt>
                <c:pt idx="114">
                  <c:v>201702</c:v>
                </c:pt>
                <c:pt idx="115">
                  <c:v>201703</c:v>
                </c:pt>
                <c:pt idx="116">
                  <c:v>201704</c:v>
                </c:pt>
                <c:pt idx="117">
                  <c:v>201705</c:v>
                </c:pt>
                <c:pt idx="118">
                  <c:v>201706</c:v>
                </c:pt>
                <c:pt idx="119">
                  <c:v>201707</c:v>
                </c:pt>
                <c:pt idx="120">
                  <c:v>201708</c:v>
                </c:pt>
                <c:pt idx="121">
                  <c:v>201709</c:v>
                </c:pt>
                <c:pt idx="122">
                  <c:v>201710</c:v>
                </c:pt>
                <c:pt idx="123">
                  <c:v>201711</c:v>
                </c:pt>
                <c:pt idx="124">
                  <c:v>201712</c:v>
                </c:pt>
                <c:pt idx="125">
                  <c:v>201801</c:v>
                </c:pt>
                <c:pt idx="126">
                  <c:v>201802</c:v>
                </c:pt>
                <c:pt idx="127">
                  <c:v>201803</c:v>
                </c:pt>
                <c:pt idx="128">
                  <c:v>201804</c:v>
                </c:pt>
                <c:pt idx="129">
                  <c:v>201805</c:v>
                </c:pt>
                <c:pt idx="130">
                  <c:v>201806</c:v>
                </c:pt>
                <c:pt idx="131">
                  <c:v>201807</c:v>
                </c:pt>
                <c:pt idx="132">
                  <c:v>201808</c:v>
                </c:pt>
                <c:pt idx="133">
                  <c:v>201809</c:v>
                </c:pt>
                <c:pt idx="134">
                  <c:v>201810</c:v>
                </c:pt>
                <c:pt idx="135">
                  <c:v>201811</c:v>
                </c:pt>
                <c:pt idx="136">
                  <c:v>201812</c:v>
                </c:pt>
                <c:pt idx="137">
                  <c:v>201901</c:v>
                </c:pt>
                <c:pt idx="138">
                  <c:v>201902</c:v>
                </c:pt>
                <c:pt idx="139">
                  <c:v>201903</c:v>
                </c:pt>
                <c:pt idx="140">
                  <c:v>201904</c:v>
                </c:pt>
                <c:pt idx="141">
                  <c:v>201905</c:v>
                </c:pt>
                <c:pt idx="142">
                  <c:v>201906</c:v>
                </c:pt>
                <c:pt idx="143">
                  <c:v>201907</c:v>
                </c:pt>
                <c:pt idx="144">
                  <c:v>201908</c:v>
                </c:pt>
                <c:pt idx="145">
                  <c:v>201909</c:v>
                </c:pt>
                <c:pt idx="146">
                  <c:v>201910</c:v>
                </c:pt>
                <c:pt idx="147">
                  <c:v>201911</c:v>
                </c:pt>
                <c:pt idx="148">
                  <c:v>201912</c:v>
                </c:pt>
                <c:pt idx="149">
                  <c:v>202001</c:v>
                </c:pt>
                <c:pt idx="150">
                  <c:v>202002</c:v>
                </c:pt>
                <c:pt idx="151">
                  <c:v>202003</c:v>
                </c:pt>
                <c:pt idx="152">
                  <c:v>202004</c:v>
                </c:pt>
                <c:pt idx="153">
                  <c:v>202005</c:v>
                </c:pt>
                <c:pt idx="154">
                  <c:v>202006</c:v>
                </c:pt>
                <c:pt idx="155">
                  <c:v>202007</c:v>
                </c:pt>
                <c:pt idx="156">
                  <c:v>202008</c:v>
                </c:pt>
                <c:pt idx="157">
                  <c:v>202009</c:v>
                </c:pt>
                <c:pt idx="158">
                  <c:v>202010</c:v>
                </c:pt>
                <c:pt idx="159">
                  <c:v>202011</c:v>
                </c:pt>
                <c:pt idx="160">
                  <c:v>202012</c:v>
                </c:pt>
                <c:pt idx="161">
                  <c:v>202101</c:v>
                </c:pt>
                <c:pt idx="162">
                  <c:v>202102</c:v>
                </c:pt>
                <c:pt idx="163">
                  <c:v>202103</c:v>
                </c:pt>
                <c:pt idx="164">
                  <c:v>202104</c:v>
                </c:pt>
                <c:pt idx="165">
                  <c:v>202105</c:v>
                </c:pt>
                <c:pt idx="166">
                  <c:v>202106</c:v>
                </c:pt>
                <c:pt idx="167">
                  <c:v>202107</c:v>
                </c:pt>
                <c:pt idx="168">
                  <c:v>202108</c:v>
                </c:pt>
              </c:numCache>
            </c:numRef>
          </c:cat>
          <c:val>
            <c:numRef>
              <c:f>Arbetslöshet!$R$12:$R$180</c:f>
              <c:numCache>
                <c:formatCode>0.0%</c:formatCode>
                <c:ptCount val="169"/>
                <c:pt idx="0">
                  <c:v>5.0423786895996477E-2</c:v>
                </c:pt>
                <c:pt idx="1">
                  <c:v>4.9039808862273562E-2</c:v>
                </c:pt>
                <c:pt idx="2">
                  <c:v>4.8719618985249735E-2</c:v>
                </c:pt>
                <c:pt idx="3">
                  <c:v>4.872072042030693E-2</c:v>
                </c:pt>
                <c:pt idx="4">
                  <c:v>5.1012994597346747E-2</c:v>
                </c:pt>
                <c:pt idx="5">
                  <c:v>5.1303788330348522E-2</c:v>
                </c:pt>
                <c:pt idx="6">
                  <c:v>5.0373890321743206E-2</c:v>
                </c:pt>
                <c:pt idx="7">
                  <c:v>4.8843373662876555E-2</c:v>
                </c:pt>
                <c:pt idx="8">
                  <c:v>4.6457278344720035E-2</c:v>
                </c:pt>
                <c:pt idx="9">
                  <c:v>4.4290913717346954E-2</c:v>
                </c:pt>
                <c:pt idx="10">
                  <c:v>4.5359077091708735E-2</c:v>
                </c:pt>
                <c:pt idx="11">
                  <c:v>4.7096639740493912E-2</c:v>
                </c:pt>
                <c:pt idx="12">
                  <c:v>4.8512703823248009E-2</c:v>
                </c:pt>
                <c:pt idx="13">
                  <c:v>4.9637375512330495E-2</c:v>
                </c:pt>
                <c:pt idx="14">
                  <c:v>5.1846278749706425E-2</c:v>
                </c:pt>
                <c:pt idx="15">
                  <c:v>5.4639326777477085E-2</c:v>
                </c:pt>
                <c:pt idx="16">
                  <c:v>6.0580784987622559E-2</c:v>
                </c:pt>
                <c:pt idx="17">
                  <c:v>6.4698628575307393E-2</c:v>
                </c:pt>
                <c:pt idx="18">
                  <c:v>6.7606129279997637E-2</c:v>
                </c:pt>
                <c:pt idx="19">
                  <c:v>7.0217381430768194E-2</c:v>
                </c:pt>
                <c:pt idx="20">
                  <c:v>7.159563022320968E-2</c:v>
                </c:pt>
                <c:pt idx="21">
                  <c:v>7.1511815254736599E-2</c:v>
                </c:pt>
                <c:pt idx="22">
                  <c:v>7.5077770560763452E-2</c:v>
                </c:pt>
                <c:pt idx="23">
                  <c:v>7.8400746367525129E-2</c:v>
                </c:pt>
                <c:pt idx="24">
                  <c:v>8.1271522975007809E-2</c:v>
                </c:pt>
                <c:pt idx="25">
                  <c:v>8.2285866033198179E-2</c:v>
                </c:pt>
                <c:pt idx="26">
                  <c:v>8.3822908561689891E-2</c:v>
                </c:pt>
                <c:pt idx="27">
                  <c:v>8.5283777466702501E-2</c:v>
                </c:pt>
                <c:pt idx="28">
                  <c:v>8.8811756786315629E-2</c:v>
                </c:pt>
                <c:pt idx="29">
                  <c:v>9.2304637595808148E-2</c:v>
                </c:pt>
                <c:pt idx="30">
                  <c:v>9.1891760805889386E-2</c:v>
                </c:pt>
                <c:pt idx="31">
                  <c:v>9.0651833844916735E-2</c:v>
                </c:pt>
                <c:pt idx="32">
                  <c:v>8.7237375710298784E-2</c:v>
                </c:pt>
                <c:pt idx="33">
                  <c:v>8.4055192386799329E-2</c:v>
                </c:pt>
                <c:pt idx="34">
                  <c:v>8.5202406246826817E-2</c:v>
                </c:pt>
                <c:pt idx="35">
                  <c:v>8.6184278654599961E-2</c:v>
                </c:pt>
                <c:pt idx="36">
                  <c:v>8.6396759312690516E-2</c:v>
                </c:pt>
                <c:pt idx="37">
                  <c:v>8.5320932943417457E-2</c:v>
                </c:pt>
                <c:pt idx="38">
                  <c:v>8.4808327136535203E-2</c:v>
                </c:pt>
                <c:pt idx="39">
                  <c:v>8.469219667615345E-2</c:v>
                </c:pt>
                <c:pt idx="40">
                  <c:v>8.6274827660616865E-2</c:v>
                </c:pt>
                <c:pt idx="41">
                  <c:v>8.9443437951225405E-2</c:v>
                </c:pt>
                <c:pt idx="42">
                  <c:v>8.7792400097547116E-2</c:v>
                </c:pt>
                <c:pt idx="43">
                  <c:v>8.5231967293331878E-2</c:v>
                </c:pt>
                <c:pt idx="44">
                  <c:v>8.1831759246628111E-2</c:v>
                </c:pt>
                <c:pt idx="45">
                  <c:v>7.8483765405855443E-2</c:v>
                </c:pt>
                <c:pt idx="46">
                  <c:v>7.9574095390842578E-2</c:v>
                </c:pt>
                <c:pt idx="47">
                  <c:v>8.0754697633426131E-2</c:v>
                </c:pt>
                <c:pt idx="48">
                  <c:v>8.1779263384199552E-2</c:v>
                </c:pt>
                <c:pt idx="49">
                  <c:v>8.1545289923474762E-2</c:v>
                </c:pt>
                <c:pt idx="50">
                  <c:v>8.2170304531173008E-2</c:v>
                </c:pt>
                <c:pt idx="51">
                  <c:v>8.3183635792164118E-2</c:v>
                </c:pt>
                <c:pt idx="52">
                  <c:v>8.6239556740747514E-2</c:v>
                </c:pt>
                <c:pt idx="53">
                  <c:v>8.6800060198135784E-2</c:v>
                </c:pt>
                <c:pt idx="54">
                  <c:v>8.6565993810764949E-2</c:v>
                </c:pt>
                <c:pt idx="55">
                  <c:v>8.490198114276104E-2</c:v>
                </c:pt>
                <c:pt idx="56">
                  <c:v>8.2645370998594647E-2</c:v>
                </c:pt>
                <c:pt idx="57">
                  <c:v>7.9679022898549917E-2</c:v>
                </c:pt>
                <c:pt idx="58">
                  <c:v>8.0650914213953151E-2</c:v>
                </c:pt>
                <c:pt idx="59">
                  <c:v>8.1405785335748021E-2</c:v>
                </c:pt>
                <c:pt idx="60">
                  <c:v>8.3633452263850883E-2</c:v>
                </c:pt>
                <c:pt idx="61">
                  <c:v>8.4321524270075304E-2</c:v>
                </c:pt>
                <c:pt idx="62">
                  <c:v>8.5637738856404397E-2</c:v>
                </c:pt>
                <c:pt idx="63">
                  <c:v>8.6323392457682946E-2</c:v>
                </c:pt>
                <c:pt idx="64">
                  <c:v>8.8529832443966019E-2</c:v>
                </c:pt>
                <c:pt idx="65">
                  <c:v>8.9014917441495922E-2</c:v>
                </c:pt>
                <c:pt idx="66">
                  <c:v>8.8523056142244608E-2</c:v>
                </c:pt>
                <c:pt idx="67">
                  <c:v>8.7459413744122305E-2</c:v>
                </c:pt>
                <c:pt idx="68">
                  <c:v>8.4744016662090485E-2</c:v>
                </c:pt>
                <c:pt idx="69">
                  <c:v>8.1408632688160815E-2</c:v>
                </c:pt>
                <c:pt idx="70">
                  <c:v>8.2345727687860693E-2</c:v>
                </c:pt>
                <c:pt idx="71">
                  <c:v>8.3607874333609306E-2</c:v>
                </c:pt>
                <c:pt idx="72">
                  <c:v>8.5078254764907948E-2</c:v>
                </c:pt>
                <c:pt idx="73">
                  <c:v>8.5044977376503322E-2</c:v>
                </c:pt>
                <c:pt idx="74">
                  <c:v>8.4998152765744267E-2</c:v>
                </c:pt>
                <c:pt idx="75">
                  <c:v>8.5014212986283547E-2</c:v>
                </c:pt>
                <c:pt idx="76">
                  <c:v>8.6735188177348224E-2</c:v>
                </c:pt>
                <c:pt idx="77">
                  <c:v>8.6179753181481494E-2</c:v>
                </c:pt>
                <c:pt idx="78">
                  <c:v>8.4763586258926091E-2</c:v>
                </c:pt>
                <c:pt idx="79">
                  <c:v>8.2495698556521696E-2</c:v>
                </c:pt>
                <c:pt idx="80">
                  <c:v>7.9519044344172174E-2</c:v>
                </c:pt>
                <c:pt idx="81">
                  <c:v>7.6715508548210132E-2</c:v>
                </c:pt>
                <c:pt idx="82">
                  <c:v>7.6392359220272488E-2</c:v>
                </c:pt>
                <c:pt idx="83">
                  <c:v>7.6912411315513754E-2</c:v>
                </c:pt>
                <c:pt idx="84">
                  <c:v>7.8310557789776164E-2</c:v>
                </c:pt>
                <c:pt idx="85">
                  <c:v>7.8336232955749319E-2</c:v>
                </c:pt>
                <c:pt idx="86">
                  <c:v>7.8657634982145272E-2</c:v>
                </c:pt>
                <c:pt idx="87">
                  <c:v>7.8986193696524515E-2</c:v>
                </c:pt>
                <c:pt idx="88">
                  <c:v>8.1022834562992474E-2</c:v>
                </c:pt>
                <c:pt idx="89">
                  <c:v>8.1489549917940926E-2</c:v>
                </c:pt>
                <c:pt idx="90">
                  <c:v>8.0775246714142435E-2</c:v>
                </c:pt>
                <c:pt idx="91">
                  <c:v>7.8984618644556734E-2</c:v>
                </c:pt>
                <c:pt idx="92">
                  <c:v>7.6882736090597426E-2</c:v>
                </c:pt>
                <c:pt idx="93">
                  <c:v>7.4858199558503549E-2</c:v>
                </c:pt>
                <c:pt idx="94">
                  <c:v>7.4633352950798384E-2</c:v>
                </c:pt>
                <c:pt idx="95">
                  <c:v>7.5949481658885223E-2</c:v>
                </c:pt>
                <c:pt idx="96">
                  <c:v>7.7174973692165333E-2</c:v>
                </c:pt>
                <c:pt idx="97">
                  <c:v>7.7516071476226522E-2</c:v>
                </c:pt>
                <c:pt idx="98">
                  <c:v>7.8120275110373422E-2</c:v>
                </c:pt>
                <c:pt idx="99">
                  <c:v>7.8492011964054101E-2</c:v>
                </c:pt>
                <c:pt idx="100">
                  <c:v>7.9885528694118316E-2</c:v>
                </c:pt>
                <c:pt idx="101">
                  <c:v>8.0162071764302803E-2</c:v>
                </c:pt>
                <c:pt idx="102">
                  <c:v>7.9267557975108704E-2</c:v>
                </c:pt>
                <c:pt idx="103">
                  <c:v>7.7587930479126127E-2</c:v>
                </c:pt>
                <c:pt idx="104">
                  <c:v>7.533416902584697E-2</c:v>
                </c:pt>
                <c:pt idx="105">
                  <c:v>7.2929719028657011E-2</c:v>
                </c:pt>
                <c:pt idx="106">
                  <c:v>7.2449272238914605E-2</c:v>
                </c:pt>
                <c:pt idx="107">
                  <c:v>7.3221786244843892E-2</c:v>
                </c:pt>
                <c:pt idx="108">
                  <c:v>7.4253227534682623E-2</c:v>
                </c:pt>
                <c:pt idx="109">
                  <c:v>7.478308257374941E-2</c:v>
                </c:pt>
                <c:pt idx="110">
                  <c:v>7.5508059962965085E-2</c:v>
                </c:pt>
                <c:pt idx="111">
                  <c:v>7.6106517342144908E-2</c:v>
                </c:pt>
                <c:pt idx="112">
                  <c:v>7.7602930228204303E-2</c:v>
                </c:pt>
                <c:pt idx="113">
                  <c:v>7.7673690985785526E-2</c:v>
                </c:pt>
                <c:pt idx="114">
                  <c:v>7.7593040750935482E-2</c:v>
                </c:pt>
                <c:pt idx="115">
                  <c:v>7.6528310851258274E-2</c:v>
                </c:pt>
                <c:pt idx="116">
                  <c:v>7.5019806567691125E-2</c:v>
                </c:pt>
                <c:pt idx="117">
                  <c:v>7.2804417255787471E-2</c:v>
                </c:pt>
                <c:pt idx="118">
                  <c:v>7.2388902948482575E-2</c:v>
                </c:pt>
                <c:pt idx="119">
                  <c:v>7.3320086131557258E-2</c:v>
                </c:pt>
                <c:pt idx="120">
                  <c:v>7.3696771461988109E-2</c:v>
                </c:pt>
                <c:pt idx="121">
                  <c:v>7.4028505043028742E-2</c:v>
                </c:pt>
                <c:pt idx="122">
                  <c:v>7.4295170147539336E-2</c:v>
                </c:pt>
                <c:pt idx="123">
                  <c:v>7.4427873198040007E-2</c:v>
                </c:pt>
                <c:pt idx="124">
                  <c:v>7.5291038759485743E-2</c:v>
                </c:pt>
                <c:pt idx="125">
                  <c:v>7.4418919141910872E-2</c:v>
                </c:pt>
                <c:pt idx="126">
                  <c:v>7.3704430281217717E-2</c:v>
                </c:pt>
                <c:pt idx="127">
                  <c:v>7.2453988880658765E-2</c:v>
                </c:pt>
                <c:pt idx="128">
                  <c:v>7.0760884673694152E-2</c:v>
                </c:pt>
                <c:pt idx="129">
                  <c:v>6.8439187130978074E-2</c:v>
                </c:pt>
                <c:pt idx="130">
                  <c:v>6.8163073376698496E-2</c:v>
                </c:pt>
                <c:pt idx="131">
                  <c:v>6.8631596170092471E-2</c:v>
                </c:pt>
                <c:pt idx="132">
                  <c:v>6.9206839776518952E-2</c:v>
                </c:pt>
                <c:pt idx="133">
                  <c:v>6.9351481197907988E-2</c:v>
                </c:pt>
                <c:pt idx="134">
                  <c:v>6.8950593592664741E-2</c:v>
                </c:pt>
                <c:pt idx="135">
                  <c:v>6.8697034852795533E-2</c:v>
                </c:pt>
                <c:pt idx="136">
                  <c:v>6.9664528601933826E-2</c:v>
                </c:pt>
                <c:pt idx="137">
                  <c:v>6.9610813042341707E-2</c:v>
                </c:pt>
                <c:pt idx="138">
                  <c:v>6.9425030898924545E-2</c:v>
                </c:pt>
                <c:pt idx="139">
                  <c:v>6.8766780332029959E-2</c:v>
                </c:pt>
                <c:pt idx="140">
                  <c:v>6.7376333421277745E-2</c:v>
                </c:pt>
                <c:pt idx="141">
                  <c:v>6.6210343793937601E-2</c:v>
                </c:pt>
                <c:pt idx="142">
                  <c:v>6.7232514059125739E-2</c:v>
                </c:pt>
                <c:pt idx="143">
                  <c:v>6.8629891357463266E-2</c:v>
                </c:pt>
                <c:pt idx="144">
                  <c:v>6.9675504176358372E-2</c:v>
                </c:pt>
                <c:pt idx="145">
                  <c:v>7.0374669029085624E-2</c:v>
                </c:pt>
                <c:pt idx="146">
                  <c:v>7.1136902249393397E-2</c:v>
                </c:pt>
                <c:pt idx="147">
                  <c:v>7.2304820195523992E-2</c:v>
                </c:pt>
                <c:pt idx="148">
                  <c:v>7.4079016560133687E-2</c:v>
                </c:pt>
                <c:pt idx="149">
                  <c:v>7.4414428082753656E-2</c:v>
                </c:pt>
                <c:pt idx="150">
                  <c:v>7.3849466473954087E-2</c:v>
                </c:pt>
                <c:pt idx="151">
                  <c:v>7.60196727701513E-2</c:v>
                </c:pt>
                <c:pt idx="152">
                  <c:v>8.1438923822366574E-2</c:v>
                </c:pt>
                <c:pt idx="153">
                  <c:v>8.5108943004368179E-2</c:v>
                </c:pt>
                <c:pt idx="154">
                  <c:v>8.9911379572201175E-2</c:v>
                </c:pt>
                <c:pt idx="155">
                  <c:v>9.1938600804653381E-2</c:v>
                </c:pt>
                <c:pt idx="156">
                  <c:v>9.144256367511204E-2</c:v>
                </c:pt>
                <c:pt idx="157">
                  <c:v>8.9544103177451012E-2</c:v>
                </c:pt>
                <c:pt idx="158">
                  <c:v>8.7893586599965767E-2</c:v>
                </c:pt>
                <c:pt idx="159">
                  <c:v>8.7153003184771247E-2</c:v>
                </c:pt>
                <c:pt idx="160">
                  <c:v>8.8145991744514443E-2</c:v>
                </c:pt>
                <c:pt idx="161">
                  <c:v>8.7910432055252716E-2</c:v>
                </c:pt>
                <c:pt idx="162">
                  <c:v>8.6857978893043447E-2</c:v>
                </c:pt>
                <c:pt idx="163">
                  <c:v>8.4404135114559575E-2</c:v>
                </c:pt>
                <c:pt idx="164">
                  <c:v>8.1764438066321207E-2</c:v>
                </c:pt>
                <c:pt idx="165">
                  <c:v>7.9319846810538497E-2</c:v>
                </c:pt>
                <c:pt idx="166">
                  <c:v>7.8705864083513294E-2</c:v>
                </c:pt>
                <c:pt idx="167">
                  <c:v>7.8780146763387585E-2</c:v>
                </c:pt>
                <c:pt idx="168">
                  <c:v>7.717311387792051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C8D-4CD1-938A-3081DE7C68EC}"/>
            </c:ext>
          </c:extLst>
        </c:ser>
        <c:ser>
          <c:idx val="2"/>
          <c:order val="3"/>
          <c:tx>
            <c:v>  Stockholmsregionen</c:v>
          </c:tx>
          <c:spPr>
            <a:ln w="762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168"/>
              <c:layout>
                <c:manualLayout>
                  <c:x val="-2.2255569005248553E-3"/>
                  <c:y val="1.73991356719805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C8D-4CD1-938A-3081DE7C68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accent2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betslöshet!$A$12:$A$180</c:f>
              <c:numCache>
                <c:formatCode>General</c:formatCode>
                <c:ptCount val="169"/>
                <c:pt idx="0">
                  <c:v>200708</c:v>
                </c:pt>
                <c:pt idx="1">
                  <c:v>200709</c:v>
                </c:pt>
                <c:pt idx="2">
                  <c:v>200710</c:v>
                </c:pt>
                <c:pt idx="3">
                  <c:v>200711</c:v>
                </c:pt>
                <c:pt idx="4">
                  <c:v>200712</c:v>
                </c:pt>
                <c:pt idx="5">
                  <c:v>200801</c:v>
                </c:pt>
                <c:pt idx="6">
                  <c:v>200802</c:v>
                </c:pt>
                <c:pt idx="7">
                  <c:v>200803</c:v>
                </c:pt>
                <c:pt idx="8">
                  <c:v>200804</c:v>
                </c:pt>
                <c:pt idx="9">
                  <c:v>200805</c:v>
                </c:pt>
                <c:pt idx="10">
                  <c:v>200806</c:v>
                </c:pt>
                <c:pt idx="11">
                  <c:v>200807</c:v>
                </c:pt>
                <c:pt idx="12">
                  <c:v>200808</c:v>
                </c:pt>
                <c:pt idx="13">
                  <c:v>200809</c:v>
                </c:pt>
                <c:pt idx="14">
                  <c:v>200810</c:v>
                </c:pt>
                <c:pt idx="15">
                  <c:v>200811</c:v>
                </c:pt>
                <c:pt idx="16">
                  <c:v>200812</c:v>
                </c:pt>
                <c:pt idx="17">
                  <c:v>200901</c:v>
                </c:pt>
                <c:pt idx="18">
                  <c:v>200902</c:v>
                </c:pt>
                <c:pt idx="19">
                  <c:v>200903</c:v>
                </c:pt>
                <c:pt idx="20">
                  <c:v>200904</c:v>
                </c:pt>
                <c:pt idx="21">
                  <c:v>200905</c:v>
                </c:pt>
                <c:pt idx="22">
                  <c:v>200906</c:v>
                </c:pt>
                <c:pt idx="23">
                  <c:v>200907</c:v>
                </c:pt>
                <c:pt idx="24">
                  <c:v>200908</c:v>
                </c:pt>
                <c:pt idx="25">
                  <c:v>200909</c:v>
                </c:pt>
                <c:pt idx="26">
                  <c:v>200910</c:v>
                </c:pt>
                <c:pt idx="27">
                  <c:v>200911</c:v>
                </c:pt>
                <c:pt idx="28">
                  <c:v>200912</c:v>
                </c:pt>
                <c:pt idx="29">
                  <c:v>201001</c:v>
                </c:pt>
                <c:pt idx="30">
                  <c:v>201002</c:v>
                </c:pt>
                <c:pt idx="31">
                  <c:v>201003</c:v>
                </c:pt>
                <c:pt idx="32">
                  <c:v>201004</c:v>
                </c:pt>
                <c:pt idx="33">
                  <c:v>201005</c:v>
                </c:pt>
                <c:pt idx="34">
                  <c:v>201006</c:v>
                </c:pt>
                <c:pt idx="35">
                  <c:v>201007</c:v>
                </c:pt>
                <c:pt idx="36">
                  <c:v>201008</c:v>
                </c:pt>
                <c:pt idx="37">
                  <c:v>201009</c:v>
                </c:pt>
                <c:pt idx="38">
                  <c:v>201010</c:v>
                </c:pt>
                <c:pt idx="39">
                  <c:v>201011</c:v>
                </c:pt>
                <c:pt idx="40">
                  <c:v>201012</c:v>
                </c:pt>
                <c:pt idx="41">
                  <c:v>201101</c:v>
                </c:pt>
                <c:pt idx="42">
                  <c:v>201102</c:v>
                </c:pt>
                <c:pt idx="43">
                  <c:v>201103</c:v>
                </c:pt>
                <c:pt idx="44">
                  <c:v>201104</c:v>
                </c:pt>
                <c:pt idx="45">
                  <c:v>201105</c:v>
                </c:pt>
                <c:pt idx="46">
                  <c:v>201106</c:v>
                </c:pt>
                <c:pt idx="47">
                  <c:v>201107</c:v>
                </c:pt>
                <c:pt idx="48">
                  <c:v>201108</c:v>
                </c:pt>
                <c:pt idx="49">
                  <c:v>201109</c:v>
                </c:pt>
                <c:pt idx="50">
                  <c:v>201110</c:v>
                </c:pt>
                <c:pt idx="51">
                  <c:v>201111</c:v>
                </c:pt>
                <c:pt idx="52">
                  <c:v>201112</c:v>
                </c:pt>
                <c:pt idx="53">
                  <c:v>201201</c:v>
                </c:pt>
                <c:pt idx="54">
                  <c:v>201202</c:v>
                </c:pt>
                <c:pt idx="55">
                  <c:v>201203</c:v>
                </c:pt>
                <c:pt idx="56">
                  <c:v>201204</c:v>
                </c:pt>
                <c:pt idx="57">
                  <c:v>201205</c:v>
                </c:pt>
                <c:pt idx="58">
                  <c:v>201206</c:v>
                </c:pt>
                <c:pt idx="59">
                  <c:v>201207</c:v>
                </c:pt>
                <c:pt idx="60">
                  <c:v>201208</c:v>
                </c:pt>
                <c:pt idx="61">
                  <c:v>201209</c:v>
                </c:pt>
                <c:pt idx="62">
                  <c:v>201210</c:v>
                </c:pt>
                <c:pt idx="63">
                  <c:v>201211</c:v>
                </c:pt>
                <c:pt idx="64">
                  <c:v>201212</c:v>
                </c:pt>
                <c:pt idx="65">
                  <c:v>201301</c:v>
                </c:pt>
                <c:pt idx="66">
                  <c:v>201302</c:v>
                </c:pt>
                <c:pt idx="67">
                  <c:v>201303</c:v>
                </c:pt>
                <c:pt idx="68">
                  <c:v>201304</c:v>
                </c:pt>
                <c:pt idx="69">
                  <c:v>201305</c:v>
                </c:pt>
                <c:pt idx="70">
                  <c:v>201306</c:v>
                </c:pt>
                <c:pt idx="71">
                  <c:v>201307</c:v>
                </c:pt>
                <c:pt idx="72">
                  <c:v>201308</c:v>
                </c:pt>
                <c:pt idx="73">
                  <c:v>201309</c:v>
                </c:pt>
                <c:pt idx="74">
                  <c:v>201310</c:v>
                </c:pt>
                <c:pt idx="75">
                  <c:v>201311</c:v>
                </c:pt>
                <c:pt idx="76">
                  <c:v>201312</c:v>
                </c:pt>
                <c:pt idx="77">
                  <c:v>201401</c:v>
                </c:pt>
                <c:pt idx="78">
                  <c:v>201402</c:v>
                </c:pt>
                <c:pt idx="79">
                  <c:v>201403</c:v>
                </c:pt>
                <c:pt idx="80">
                  <c:v>201404</c:v>
                </c:pt>
                <c:pt idx="81">
                  <c:v>201405</c:v>
                </c:pt>
                <c:pt idx="82">
                  <c:v>201406</c:v>
                </c:pt>
                <c:pt idx="83">
                  <c:v>201407</c:v>
                </c:pt>
                <c:pt idx="84">
                  <c:v>201408</c:v>
                </c:pt>
                <c:pt idx="85">
                  <c:v>201409</c:v>
                </c:pt>
                <c:pt idx="86">
                  <c:v>201410</c:v>
                </c:pt>
                <c:pt idx="87">
                  <c:v>201411</c:v>
                </c:pt>
                <c:pt idx="88">
                  <c:v>201412</c:v>
                </c:pt>
                <c:pt idx="89">
                  <c:v>201501</c:v>
                </c:pt>
                <c:pt idx="90">
                  <c:v>201502</c:v>
                </c:pt>
                <c:pt idx="91">
                  <c:v>201503</c:v>
                </c:pt>
                <c:pt idx="92">
                  <c:v>201504</c:v>
                </c:pt>
                <c:pt idx="93">
                  <c:v>201505</c:v>
                </c:pt>
                <c:pt idx="94">
                  <c:v>201506</c:v>
                </c:pt>
                <c:pt idx="95">
                  <c:v>201507</c:v>
                </c:pt>
                <c:pt idx="96">
                  <c:v>201508</c:v>
                </c:pt>
                <c:pt idx="97">
                  <c:v>201509</c:v>
                </c:pt>
                <c:pt idx="98">
                  <c:v>201510</c:v>
                </c:pt>
                <c:pt idx="99">
                  <c:v>201511</c:v>
                </c:pt>
                <c:pt idx="100">
                  <c:v>201512</c:v>
                </c:pt>
                <c:pt idx="101">
                  <c:v>201601</c:v>
                </c:pt>
                <c:pt idx="102">
                  <c:v>201602</c:v>
                </c:pt>
                <c:pt idx="103">
                  <c:v>201603</c:v>
                </c:pt>
                <c:pt idx="104">
                  <c:v>201604</c:v>
                </c:pt>
                <c:pt idx="105">
                  <c:v>201605</c:v>
                </c:pt>
                <c:pt idx="106">
                  <c:v>201606</c:v>
                </c:pt>
                <c:pt idx="107">
                  <c:v>201607</c:v>
                </c:pt>
                <c:pt idx="108">
                  <c:v>201608</c:v>
                </c:pt>
                <c:pt idx="109">
                  <c:v>201609</c:v>
                </c:pt>
                <c:pt idx="110">
                  <c:v>201610</c:v>
                </c:pt>
                <c:pt idx="111">
                  <c:v>201611</c:v>
                </c:pt>
                <c:pt idx="112">
                  <c:v>201612</c:v>
                </c:pt>
                <c:pt idx="113">
                  <c:v>201701</c:v>
                </c:pt>
                <c:pt idx="114">
                  <c:v>201702</c:v>
                </c:pt>
                <c:pt idx="115">
                  <c:v>201703</c:v>
                </c:pt>
                <c:pt idx="116">
                  <c:v>201704</c:v>
                </c:pt>
                <c:pt idx="117">
                  <c:v>201705</c:v>
                </c:pt>
                <c:pt idx="118">
                  <c:v>201706</c:v>
                </c:pt>
                <c:pt idx="119">
                  <c:v>201707</c:v>
                </c:pt>
                <c:pt idx="120">
                  <c:v>201708</c:v>
                </c:pt>
                <c:pt idx="121">
                  <c:v>201709</c:v>
                </c:pt>
                <c:pt idx="122">
                  <c:v>201710</c:v>
                </c:pt>
                <c:pt idx="123">
                  <c:v>201711</c:v>
                </c:pt>
                <c:pt idx="124">
                  <c:v>201712</c:v>
                </c:pt>
                <c:pt idx="125">
                  <c:v>201801</c:v>
                </c:pt>
                <c:pt idx="126">
                  <c:v>201802</c:v>
                </c:pt>
                <c:pt idx="127">
                  <c:v>201803</c:v>
                </c:pt>
                <c:pt idx="128">
                  <c:v>201804</c:v>
                </c:pt>
                <c:pt idx="129">
                  <c:v>201805</c:v>
                </c:pt>
                <c:pt idx="130">
                  <c:v>201806</c:v>
                </c:pt>
                <c:pt idx="131">
                  <c:v>201807</c:v>
                </c:pt>
                <c:pt idx="132">
                  <c:v>201808</c:v>
                </c:pt>
                <c:pt idx="133">
                  <c:v>201809</c:v>
                </c:pt>
                <c:pt idx="134">
                  <c:v>201810</c:v>
                </c:pt>
                <c:pt idx="135">
                  <c:v>201811</c:v>
                </c:pt>
                <c:pt idx="136">
                  <c:v>201812</c:v>
                </c:pt>
                <c:pt idx="137">
                  <c:v>201901</c:v>
                </c:pt>
                <c:pt idx="138">
                  <c:v>201902</c:v>
                </c:pt>
                <c:pt idx="139">
                  <c:v>201903</c:v>
                </c:pt>
                <c:pt idx="140">
                  <c:v>201904</c:v>
                </c:pt>
                <c:pt idx="141">
                  <c:v>201905</c:v>
                </c:pt>
                <c:pt idx="142">
                  <c:v>201906</c:v>
                </c:pt>
                <c:pt idx="143">
                  <c:v>201907</c:v>
                </c:pt>
                <c:pt idx="144">
                  <c:v>201908</c:v>
                </c:pt>
                <c:pt idx="145">
                  <c:v>201909</c:v>
                </c:pt>
                <c:pt idx="146">
                  <c:v>201910</c:v>
                </c:pt>
                <c:pt idx="147">
                  <c:v>201911</c:v>
                </c:pt>
                <c:pt idx="148">
                  <c:v>201912</c:v>
                </c:pt>
                <c:pt idx="149">
                  <c:v>202001</c:v>
                </c:pt>
                <c:pt idx="150">
                  <c:v>202002</c:v>
                </c:pt>
                <c:pt idx="151">
                  <c:v>202003</c:v>
                </c:pt>
                <c:pt idx="152">
                  <c:v>202004</c:v>
                </c:pt>
                <c:pt idx="153">
                  <c:v>202005</c:v>
                </c:pt>
                <c:pt idx="154">
                  <c:v>202006</c:v>
                </c:pt>
                <c:pt idx="155">
                  <c:v>202007</c:v>
                </c:pt>
                <c:pt idx="156">
                  <c:v>202008</c:v>
                </c:pt>
                <c:pt idx="157">
                  <c:v>202009</c:v>
                </c:pt>
                <c:pt idx="158">
                  <c:v>202010</c:v>
                </c:pt>
                <c:pt idx="159">
                  <c:v>202011</c:v>
                </c:pt>
                <c:pt idx="160">
                  <c:v>202012</c:v>
                </c:pt>
                <c:pt idx="161">
                  <c:v>202101</c:v>
                </c:pt>
                <c:pt idx="162">
                  <c:v>202102</c:v>
                </c:pt>
                <c:pt idx="163">
                  <c:v>202103</c:v>
                </c:pt>
                <c:pt idx="164">
                  <c:v>202104</c:v>
                </c:pt>
                <c:pt idx="165">
                  <c:v>202105</c:v>
                </c:pt>
                <c:pt idx="166">
                  <c:v>202106</c:v>
                </c:pt>
                <c:pt idx="167">
                  <c:v>202107</c:v>
                </c:pt>
                <c:pt idx="168">
                  <c:v>202108</c:v>
                </c:pt>
              </c:numCache>
            </c:numRef>
          </c:cat>
          <c:val>
            <c:numRef>
              <c:f>Arbetslöshet!$Q$12:$Q$180</c:f>
              <c:numCache>
                <c:formatCode>0.0%</c:formatCode>
                <c:ptCount val="169"/>
                <c:pt idx="0">
                  <c:v>4.0536856498651339E-2</c:v>
                </c:pt>
                <c:pt idx="1">
                  <c:v>3.8598370621916796E-2</c:v>
                </c:pt>
                <c:pt idx="2">
                  <c:v>3.7604515072582813E-2</c:v>
                </c:pt>
                <c:pt idx="3">
                  <c:v>3.6932190112354726E-2</c:v>
                </c:pt>
                <c:pt idx="4">
                  <c:v>3.7616899348334051E-2</c:v>
                </c:pt>
                <c:pt idx="5">
                  <c:v>3.7515998321282738E-2</c:v>
                </c:pt>
                <c:pt idx="6">
                  <c:v>3.6946344076049638E-2</c:v>
                </c:pt>
                <c:pt idx="7">
                  <c:v>3.6324772957135557E-2</c:v>
                </c:pt>
                <c:pt idx="8">
                  <c:v>3.5087279712686881E-2</c:v>
                </c:pt>
                <c:pt idx="9">
                  <c:v>3.4395718975211931E-2</c:v>
                </c:pt>
                <c:pt idx="10">
                  <c:v>3.6178049563886192E-2</c:v>
                </c:pt>
                <c:pt idx="11">
                  <c:v>3.736261904960296E-2</c:v>
                </c:pt>
                <c:pt idx="12">
                  <c:v>3.6906202163499366E-2</c:v>
                </c:pt>
                <c:pt idx="13">
                  <c:v>3.6819885718811583E-2</c:v>
                </c:pt>
                <c:pt idx="14">
                  <c:v>3.7790555432359811E-2</c:v>
                </c:pt>
                <c:pt idx="15">
                  <c:v>3.8996148631225198E-2</c:v>
                </c:pt>
                <c:pt idx="16">
                  <c:v>4.1662691878574715E-2</c:v>
                </c:pt>
                <c:pt idx="17">
                  <c:v>4.4059099975518823E-2</c:v>
                </c:pt>
                <c:pt idx="18">
                  <c:v>4.6234222293852489E-2</c:v>
                </c:pt>
                <c:pt idx="19">
                  <c:v>4.8116155742847666E-2</c:v>
                </c:pt>
                <c:pt idx="20">
                  <c:v>4.9366973676202221E-2</c:v>
                </c:pt>
                <c:pt idx="21">
                  <c:v>5.0383625595770851E-2</c:v>
                </c:pt>
                <c:pt idx="22">
                  <c:v>5.4163870501483129E-2</c:v>
                </c:pt>
                <c:pt idx="23">
                  <c:v>5.7305461917563166E-2</c:v>
                </c:pt>
                <c:pt idx="24">
                  <c:v>5.8486674829068823E-2</c:v>
                </c:pt>
                <c:pt idx="25">
                  <c:v>5.9618525920990942E-2</c:v>
                </c:pt>
                <c:pt idx="26">
                  <c:v>6.0682839687160796E-2</c:v>
                </c:pt>
                <c:pt idx="27">
                  <c:v>6.1154889523695029E-2</c:v>
                </c:pt>
                <c:pt idx="28">
                  <c:v>6.2606933259871808E-2</c:v>
                </c:pt>
                <c:pt idx="29">
                  <c:v>6.5273235789951645E-2</c:v>
                </c:pt>
                <c:pt idx="30">
                  <c:v>6.5585581409273924E-2</c:v>
                </c:pt>
                <c:pt idx="31">
                  <c:v>6.5907638361919985E-2</c:v>
                </c:pt>
                <c:pt idx="32">
                  <c:v>6.471753924677133E-2</c:v>
                </c:pt>
                <c:pt idx="33">
                  <c:v>6.4157560832645788E-2</c:v>
                </c:pt>
                <c:pt idx="34">
                  <c:v>6.6098782830281561E-2</c:v>
                </c:pt>
                <c:pt idx="35">
                  <c:v>6.7217930437414974E-2</c:v>
                </c:pt>
                <c:pt idx="36">
                  <c:v>6.726918664622919E-2</c:v>
                </c:pt>
                <c:pt idx="37">
                  <c:v>6.6579903988639166E-2</c:v>
                </c:pt>
                <c:pt idx="38">
                  <c:v>6.587697583619434E-2</c:v>
                </c:pt>
                <c:pt idx="39">
                  <c:v>6.4989596832566499E-2</c:v>
                </c:pt>
                <c:pt idx="40">
                  <c:v>6.5060070985515903E-2</c:v>
                </c:pt>
                <c:pt idx="41">
                  <c:v>6.6507585863993746E-2</c:v>
                </c:pt>
                <c:pt idx="42">
                  <c:v>6.5604012873328996E-2</c:v>
                </c:pt>
                <c:pt idx="43">
                  <c:v>6.4331661969122766E-2</c:v>
                </c:pt>
                <c:pt idx="44">
                  <c:v>6.2878164099883463E-2</c:v>
                </c:pt>
                <c:pt idx="45">
                  <c:v>6.1577137459597475E-2</c:v>
                </c:pt>
                <c:pt idx="46">
                  <c:v>6.3032829885432365E-2</c:v>
                </c:pt>
                <c:pt idx="47">
                  <c:v>6.452897477494797E-2</c:v>
                </c:pt>
                <c:pt idx="48">
                  <c:v>6.4114062545996914E-2</c:v>
                </c:pt>
                <c:pt idx="49">
                  <c:v>6.3690509498551484E-2</c:v>
                </c:pt>
                <c:pt idx="50">
                  <c:v>6.3493762366029563E-2</c:v>
                </c:pt>
                <c:pt idx="51">
                  <c:v>6.3555369657981198E-2</c:v>
                </c:pt>
                <c:pt idx="52">
                  <c:v>6.4456483462371858E-2</c:v>
                </c:pt>
                <c:pt idx="53">
                  <c:v>6.4284303072211793E-2</c:v>
                </c:pt>
                <c:pt idx="54">
                  <c:v>6.4502007051983931E-2</c:v>
                </c:pt>
                <c:pt idx="55">
                  <c:v>6.3755171322480486E-2</c:v>
                </c:pt>
                <c:pt idx="56">
                  <c:v>6.3140806480603551E-2</c:v>
                </c:pt>
                <c:pt idx="57">
                  <c:v>6.26005684645842E-2</c:v>
                </c:pt>
                <c:pt idx="58">
                  <c:v>6.453665262526162E-2</c:v>
                </c:pt>
                <c:pt idx="59">
                  <c:v>6.579990516832622E-2</c:v>
                </c:pt>
                <c:pt idx="60">
                  <c:v>6.6381590606895469E-2</c:v>
                </c:pt>
                <c:pt idx="61">
                  <c:v>6.7004968452316682E-2</c:v>
                </c:pt>
                <c:pt idx="62">
                  <c:v>6.7965372061119259E-2</c:v>
                </c:pt>
                <c:pt idx="63">
                  <c:v>6.7856014140454529E-2</c:v>
                </c:pt>
                <c:pt idx="64">
                  <c:v>6.8360257916129971E-2</c:v>
                </c:pt>
                <c:pt idx="65">
                  <c:v>6.8684000354956073E-2</c:v>
                </c:pt>
                <c:pt idx="66">
                  <c:v>6.9024782391750292E-2</c:v>
                </c:pt>
                <c:pt idx="67">
                  <c:v>6.8983488761490783E-2</c:v>
                </c:pt>
                <c:pt idx="68">
                  <c:v>6.8050826527695688E-2</c:v>
                </c:pt>
                <c:pt idx="69">
                  <c:v>6.7046322661295926E-2</c:v>
                </c:pt>
                <c:pt idx="70">
                  <c:v>6.8894867148028449E-2</c:v>
                </c:pt>
                <c:pt idx="71">
                  <c:v>7.0442027180381409E-2</c:v>
                </c:pt>
                <c:pt idx="72">
                  <c:v>7.0695815954383373E-2</c:v>
                </c:pt>
                <c:pt idx="73">
                  <c:v>7.0418870629786787E-2</c:v>
                </c:pt>
                <c:pt idx="74">
                  <c:v>6.9532910175459983E-2</c:v>
                </c:pt>
                <c:pt idx="75">
                  <c:v>6.8778687054848076E-2</c:v>
                </c:pt>
                <c:pt idx="76">
                  <c:v>6.8856143671489733E-2</c:v>
                </c:pt>
                <c:pt idx="77">
                  <c:v>6.7511759619345982E-2</c:v>
                </c:pt>
                <c:pt idx="78">
                  <c:v>6.6667512524741346E-2</c:v>
                </c:pt>
                <c:pt idx="79">
                  <c:v>6.5643749313876606E-2</c:v>
                </c:pt>
                <c:pt idx="80">
                  <c:v>6.4426543892337471E-2</c:v>
                </c:pt>
                <c:pt idx="81">
                  <c:v>6.3496653571948197E-2</c:v>
                </c:pt>
                <c:pt idx="82">
                  <c:v>6.4803758024076993E-2</c:v>
                </c:pt>
                <c:pt idx="83">
                  <c:v>6.5622555984401851E-2</c:v>
                </c:pt>
                <c:pt idx="84">
                  <c:v>6.5520814618415302E-2</c:v>
                </c:pt>
                <c:pt idx="85">
                  <c:v>6.484197221006445E-2</c:v>
                </c:pt>
                <c:pt idx="86">
                  <c:v>6.4399345531782684E-2</c:v>
                </c:pt>
                <c:pt idx="87">
                  <c:v>6.3781006423554609E-2</c:v>
                </c:pt>
                <c:pt idx="88">
                  <c:v>6.4282034484732464E-2</c:v>
                </c:pt>
                <c:pt idx="89">
                  <c:v>6.4097803396418546E-2</c:v>
                </c:pt>
                <c:pt idx="90">
                  <c:v>6.3685606531930533E-2</c:v>
                </c:pt>
                <c:pt idx="91">
                  <c:v>6.2835772217861741E-2</c:v>
                </c:pt>
                <c:pt idx="92">
                  <c:v>6.2207263102778E-2</c:v>
                </c:pt>
                <c:pt idx="93">
                  <c:v>6.1615796410118849E-2</c:v>
                </c:pt>
                <c:pt idx="94">
                  <c:v>6.2926449929761194E-2</c:v>
                </c:pt>
                <c:pt idx="95">
                  <c:v>6.423093577443216E-2</c:v>
                </c:pt>
                <c:pt idx="96">
                  <c:v>6.4224238194929048E-2</c:v>
                </c:pt>
                <c:pt idx="97">
                  <c:v>6.3858237201546944E-2</c:v>
                </c:pt>
                <c:pt idx="98">
                  <c:v>6.3663813669856253E-2</c:v>
                </c:pt>
                <c:pt idx="99">
                  <c:v>6.2830734052637893E-2</c:v>
                </c:pt>
                <c:pt idx="100">
                  <c:v>6.3319183995128328E-2</c:v>
                </c:pt>
                <c:pt idx="101">
                  <c:v>6.2929932039339803E-2</c:v>
                </c:pt>
                <c:pt idx="102">
                  <c:v>6.227785627223642E-2</c:v>
                </c:pt>
                <c:pt idx="103">
                  <c:v>6.1350662742182961E-2</c:v>
                </c:pt>
                <c:pt idx="104">
                  <c:v>6.043740947688131E-2</c:v>
                </c:pt>
                <c:pt idx="105">
                  <c:v>5.9617204567365099E-2</c:v>
                </c:pt>
                <c:pt idx="106">
                  <c:v>6.0228962157250612E-2</c:v>
                </c:pt>
                <c:pt idx="107">
                  <c:v>6.1239607834827264E-2</c:v>
                </c:pt>
                <c:pt idx="108">
                  <c:v>6.1380493911299364E-2</c:v>
                </c:pt>
                <c:pt idx="109">
                  <c:v>6.1106141433015758E-2</c:v>
                </c:pt>
                <c:pt idx="110">
                  <c:v>6.1002492276768128E-2</c:v>
                </c:pt>
                <c:pt idx="111">
                  <c:v>6.0349391212281632E-2</c:v>
                </c:pt>
                <c:pt idx="112">
                  <c:v>6.0648254085492077E-2</c:v>
                </c:pt>
                <c:pt idx="113">
                  <c:v>6.0300451818947345E-2</c:v>
                </c:pt>
                <c:pt idx="114">
                  <c:v>6.0579031478797341E-2</c:v>
                </c:pt>
                <c:pt idx="115">
                  <c:v>6.0549800555764435E-2</c:v>
                </c:pt>
                <c:pt idx="116">
                  <c:v>6.0315075267404185E-2</c:v>
                </c:pt>
                <c:pt idx="117">
                  <c:v>5.9405932025913023E-2</c:v>
                </c:pt>
                <c:pt idx="118">
                  <c:v>6.0102990708352969E-2</c:v>
                </c:pt>
                <c:pt idx="119">
                  <c:v>6.1492392457821982E-2</c:v>
                </c:pt>
                <c:pt idx="120">
                  <c:v>6.1485099100437091E-2</c:v>
                </c:pt>
                <c:pt idx="121">
                  <c:v>6.1223273550153522E-2</c:v>
                </c:pt>
                <c:pt idx="122">
                  <c:v>6.1055401403608191E-2</c:v>
                </c:pt>
                <c:pt idx="123">
                  <c:v>6.073327566495073E-2</c:v>
                </c:pt>
                <c:pt idx="124">
                  <c:v>6.1209489211230476E-2</c:v>
                </c:pt>
                <c:pt idx="125">
                  <c:v>6.040789200695619E-2</c:v>
                </c:pt>
                <c:pt idx="126">
                  <c:v>6.0226389883565858E-2</c:v>
                </c:pt>
                <c:pt idx="127">
                  <c:v>5.9626696918514993E-2</c:v>
                </c:pt>
                <c:pt idx="128">
                  <c:v>5.8895878614733388E-2</c:v>
                </c:pt>
                <c:pt idx="129">
                  <c:v>5.7776003599476995E-2</c:v>
                </c:pt>
                <c:pt idx="130">
                  <c:v>5.8610392397768545E-2</c:v>
                </c:pt>
                <c:pt idx="131">
                  <c:v>5.9232831598724903E-2</c:v>
                </c:pt>
                <c:pt idx="132">
                  <c:v>5.9631459399507231E-2</c:v>
                </c:pt>
                <c:pt idx="133">
                  <c:v>5.9293997645870733E-2</c:v>
                </c:pt>
                <c:pt idx="134">
                  <c:v>5.8465595050960904E-2</c:v>
                </c:pt>
                <c:pt idx="135">
                  <c:v>5.7634137924034184E-2</c:v>
                </c:pt>
                <c:pt idx="136">
                  <c:v>5.8026953375682436E-2</c:v>
                </c:pt>
                <c:pt idx="137">
                  <c:v>5.7812557105692462E-2</c:v>
                </c:pt>
                <c:pt idx="138">
                  <c:v>5.7813339712553022E-2</c:v>
                </c:pt>
                <c:pt idx="139">
                  <c:v>5.7574584331723723E-2</c:v>
                </c:pt>
                <c:pt idx="140">
                  <c:v>5.7095926576463868E-2</c:v>
                </c:pt>
                <c:pt idx="141">
                  <c:v>5.6869354388112123E-2</c:v>
                </c:pt>
                <c:pt idx="142">
                  <c:v>5.8296742206691919E-2</c:v>
                </c:pt>
                <c:pt idx="143">
                  <c:v>5.9806326105858378E-2</c:v>
                </c:pt>
                <c:pt idx="144">
                  <c:v>6.0051741168203547E-2</c:v>
                </c:pt>
                <c:pt idx="145">
                  <c:v>6.0050183381478224E-2</c:v>
                </c:pt>
                <c:pt idx="146">
                  <c:v>6.0580311481587303E-2</c:v>
                </c:pt>
                <c:pt idx="147">
                  <c:v>6.1220959728671941E-2</c:v>
                </c:pt>
                <c:pt idx="148">
                  <c:v>6.2274880811350845E-2</c:v>
                </c:pt>
                <c:pt idx="149">
                  <c:v>6.2462396539668605E-2</c:v>
                </c:pt>
                <c:pt idx="150">
                  <c:v>6.1909430002074495E-2</c:v>
                </c:pt>
                <c:pt idx="151">
                  <c:v>6.659840212402561E-2</c:v>
                </c:pt>
                <c:pt idx="152">
                  <c:v>7.4424723639387527E-2</c:v>
                </c:pt>
                <c:pt idx="153">
                  <c:v>7.9405161842475022E-2</c:v>
                </c:pt>
                <c:pt idx="154">
                  <c:v>8.5544237243107571E-2</c:v>
                </c:pt>
                <c:pt idx="155">
                  <c:v>8.8530221734607742E-2</c:v>
                </c:pt>
                <c:pt idx="156">
                  <c:v>8.8083315407877921E-2</c:v>
                </c:pt>
                <c:pt idx="157">
                  <c:v>8.6698009944732132E-2</c:v>
                </c:pt>
                <c:pt idx="158">
                  <c:v>8.4705873014613089E-2</c:v>
                </c:pt>
                <c:pt idx="159">
                  <c:v>8.3689067029446174E-2</c:v>
                </c:pt>
                <c:pt idx="160">
                  <c:v>8.4146109001953837E-2</c:v>
                </c:pt>
                <c:pt idx="161">
                  <c:v>8.3570998145315656E-2</c:v>
                </c:pt>
                <c:pt idx="162">
                  <c:v>8.230289701376306E-2</c:v>
                </c:pt>
                <c:pt idx="163">
                  <c:v>8.0102680052940481E-2</c:v>
                </c:pt>
                <c:pt idx="164">
                  <c:v>7.7953522460264782E-2</c:v>
                </c:pt>
                <c:pt idx="165">
                  <c:v>7.6338872499399343E-2</c:v>
                </c:pt>
                <c:pt idx="166">
                  <c:v>7.6530921652126591E-2</c:v>
                </c:pt>
                <c:pt idx="167">
                  <c:v>7.6934401037894479E-2</c:v>
                </c:pt>
                <c:pt idx="168">
                  <c:v>7.45301366100378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C8D-4CD1-938A-3081DE7C68EC}"/>
            </c:ext>
          </c:extLst>
        </c:ser>
        <c:ser>
          <c:idx val="0"/>
          <c:order val="4"/>
          <c:tx>
            <c:v>  Göteborgsregionen</c:v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68"/>
              <c:layout>
                <c:manualLayout>
                  <c:x val="-1.5011569642589602E-2"/>
                  <c:y val="3.844596073624236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C8D-4CD1-938A-3081DE7C68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accent6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betslöshet!$A$12:$A$180</c:f>
              <c:numCache>
                <c:formatCode>General</c:formatCode>
                <c:ptCount val="169"/>
                <c:pt idx="0">
                  <c:v>200708</c:v>
                </c:pt>
                <c:pt idx="1">
                  <c:v>200709</c:v>
                </c:pt>
                <c:pt idx="2">
                  <c:v>200710</c:v>
                </c:pt>
                <c:pt idx="3">
                  <c:v>200711</c:v>
                </c:pt>
                <c:pt idx="4">
                  <c:v>200712</c:v>
                </c:pt>
                <c:pt idx="5">
                  <c:v>200801</c:v>
                </c:pt>
                <c:pt idx="6">
                  <c:v>200802</c:v>
                </c:pt>
                <c:pt idx="7">
                  <c:v>200803</c:v>
                </c:pt>
                <c:pt idx="8">
                  <c:v>200804</c:v>
                </c:pt>
                <c:pt idx="9">
                  <c:v>200805</c:v>
                </c:pt>
                <c:pt idx="10">
                  <c:v>200806</c:v>
                </c:pt>
                <c:pt idx="11">
                  <c:v>200807</c:v>
                </c:pt>
                <c:pt idx="12">
                  <c:v>200808</c:v>
                </c:pt>
                <c:pt idx="13">
                  <c:v>200809</c:v>
                </c:pt>
                <c:pt idx="14">
                  <c:v>200810</c:v>
                </c:pt>
                <c:pt idx="15">
                  <c:v>200811</c:v>
                </c:pt>
                <c:pt idx="16">
                  <c:v>200812</c:v>
                </c:pt>
                <c:pt idx="17">
                  <c:v>200901</c:v>
                </c:pt>
                <c:pt idx="18">
                  <c:v>200902</c:v>
                </c:pt>
                <c:pt idx="19">
                  <c:v>200903</c:v>
                </c:pt>
                <c:pt idx="20">
                  <c:v>200904</c:v>
                </c:pt>
                <c:pt idx="21">
                  <c:v>200905</c:v>
                </c:pt>
                <c:pt idx="22">
                  <c:v>200906</c:v>
                </c:pt>
                <c:pt idx="23">
                  <c:v>200907</c:v>
                </c:pt>
                <c:pt idx="24">
                  <c:v>200908</c:v>
                </c:pt>
                <c:pt idx="25">
                  <c:v>200909</c:v>
                </c:pt>
                <c:pt idx="26">
                  <c:v>200910</c:v>
                </c:pt>
                <c:pt idx="27">
                  <c:v>200911</c:v>
                </c:pt>
                <c:pt idx="28">
                  <c:v>200912</c:v>
                </c:pt>
                <c:pt idx="29">
                  <c:v>201001</c:v>
                </c:pt>
                <c:pt idx="30">
                  <c:v>201002</c:v>
                </c:pt>
                <c:pt idx="31">
                  <c:v>201003</c:v>
                </c:pt>
                <c:pt idx="32">
                  <c:v>201004</c:v>
                </c:pt>
                <c:pt idx="33">
                  <c:v>201005</c:v>
                </c:pt>
                <c:pt idx="34">
                  <c:v>201006</c:v>
                </c:pt>
                <c:pt idx="35">
                  <c:v>201007</c:v>
                </c:pt>
                <c:pt idx="36">
                  <c:v>201008</c:v>
                </c:pt>
                <c:pt idx="37">
                  <c:v>201009</c:v>
                </c:pt>
                <c:pt idx="38">
                  <c:v>201010</c:v>
                </c:pt>
                <c:pt idx="39">
                  <c:v>201011</c:v>
                </c:pt>
                <c:pt idx="40">
                  <c:v>201012</c:v>
                </c:pt>
                <c:pt idx="41">
                  <c:v>201101</c:v>
                </c:pt>
                <c:pt idx="42">
                  <c:v>201102</c:v>
                </c:pt>
                <c:pt idx="43">
                  <c:v>201103</c:v>
                </c:pt>
                <c:pt idx="44">
                  <c:v>201104</c:v>
                </c:pt>
                <c:pt idx="45">
                  <c:v>201105</c:v>
                </c:pt>
                <c:pt idx="46">
                  <c:v>201106</c:v>
                </c:pt>
                <c:pt idx="47">
                  <c:v>201107</c:v>
                </c:pt>
                <c:pt idx="48">
                  <c:v>201108</c:v>
                </c:pt>
                <c:pt idx="49">
                  <c:v>201109</c:v>
                </c:pt>
                <c:pt idx="50">
                  <c:v>201110</c:v>
                </c:pt>
                <c:pt idx="51">
                  <c:v>201111</c:v>
                </c:pt>
                <c:pt idx="52">
                  <c:v>201112</c:v>
                </c:pt>
                <c:pt idx="53">
                  <c:v>201201</c:v>
                </c:pt>
                <c:pt idx="54">
                  <c:v>201202</c:v>
                </c:pt>
                <c:pt idx="55">
                  <c:v>201203</c:v>
                </c:pt>
                <c:pt idx="56">
                  <c:v>201204</c:v>
                </c:pt>
                <c:pt idx="57">
                  <c:v>201205</c:v>
                </c:pt>
                <c:pt idx="58">
                  <c:v>201206</c:v>
                </c:pt>
                <c:pt idx="59">
                  <c:v>201207</c:v>
                </c:pt>
                <c:pt idx="60">
                  <c:v>201208</c:v>
                </c:pt>
                <c:pt idx="61">
                  <c:v>201209</c:v>
                </c:pt>
                <c:pt idx="62">
                  <c:v>201210</c:v>
                </c:pt>
                <c:pt idx="63">
                  <c:v>201211</c:v>
                </c:pt>
                <c:pt idx="64">
                  <c:v>201212</c:v>
                </c:pt>
                <c:pt idx="65">
                  <c:v>201301</c:v>
                </c:pt>
                <c:pt idx="66">
                  <c:v>201302</c:v>
                </c:pt>
                <c:pt idx="67">
                  <c:v>201303</c:v>
                </c:pt>
                <c:pt idx="68">
                  <c:v>201304</c:v>
                </c:pt>
                <c:pt idx="69">
                  <c:v>201305</c:v>
                </c:pt>
                <c:pt idx="70">
                  <c:v>201306</c:v>
                </c:pt>
                <c:pt idx="71">
                  <c:v>201307</c:v>
                </c:pt>
                <c:pt idx="72">
                  <c:v>201308</c:v>
                </c:pt>
                <c:pt idx="73">
                  <c:v>201309</c:v>
                </c:pt>
                <c:pt idx="74">
                  <c:v>201310</c:v>
                </c:pt>
                <c:pt idx="75">
                  <c:v>201311</c:v>
                </c:pt>
                <c:pt idx="76">
                  <c:v>201312</c:v>
                </c:pt>
                <c:pt idx="77">
                  <c:v>201401</c:v>
                </c:pt>
                <c:pt idx="78">
                  <c:v>201402</c:v>
                </c:pt>
                <c:pt idx="79">
                  <c:v>201403</c:v>
                </c:pt>
                <c:pt idx="80">
                  <c:v>201404</c:v>
                </c:pt>
                <c:pt idx="81">
                  <c:v>201405</c:v>
                </c:pt>
                <c:pt idx="82">
                  <c:v>201406</c:v>
                </c:pt>
                <c:pt idx="83">
                  <c:v>201407</c:v>
                </c:pt>
                <c:pt idx="84">
                  <c:v>201408</c:v>
                </c:pt>
                <c:pt idx="85">
                  <c:v>201409</c:v>
                </c:pt>
                <c:pt idx="86">
                  <c:v>201410</c:v>
                </c:pt>
                <c:pt idx="87">
                  <c:v>201411</c:v>
                </c:pt>
                <c:pt idx="88">
                  <c:v>201412</c:v>
                </c:pt>
                <c:pt idx="89">
                  <c:v>201501</c:v>
                </c:pt>
                <c:pt idx="90">
                  <c:v>201502</c:v>
                </c:pt>
                <c:pt idx="91">
                  <c:v>201503</c:v>
                </c:pt>
                <c:pt idx="92">
                  <c:v>201504</c:v>
                </c:pt>
                <c:pt idx="93">
                  <c:v>201505</c:v>
                </c:pt>
                <c:pt idx="94">
                  <c:v>201506</c:v>
                </c:pt>
                <c:pt idx="95">
                  <c:v>201507</c:v>
                </c:pt>
                <c:pt idx="96">
                  <c:v>201508</c:v>
                </c:pt>
                <c:pt idx="97">
                  <c:v>201509</c:v>
                </c:pt>
                <c:pt idx="98">
                  <c:v>201510</c:v>
                </c:pt>
                <c:pt idx="99">
                  <c:v>201511</c:v>
                </c:pt>
                <c:pt idx="100">
                  <c:v>201512</c:v>
                </c:pt>
                <c:pt idx="101">
                  <c:v>201601</c:v>
                </c:pt>
                <c:pt idx="102">
                  <c:v>201602</c:v>
                </c:pt>
                <c:pt idx="103">
                  <c:v>201603</c:v>
                </c:pt>
                <c:pt idx="104">
                  <c:v>201604</c:v>
                </c:pt>
                <c:pt idx="105">
                  <c:v>201605</c:v>
                </c:pt>
                <c:pt idx="106">
                  <c:v>201606</c:v>
                </c:pt>
                <c:pt idx="107">
                  <c:v>201607</c:v>
                </c:pt>
                <c:pt idx="108">
                  <c:v>201608</c:v>
                </c:pt>
                <c:pt idx="109">
                  <c:v>201609</c:v>
                </c:pt>
                <c:pt idx="110">
                  <c:v>201610</c:v>
                </c:pt>
                <c:pt idx="111">
                  <c:v>201611</c:v>
                </c:pt>
                <c:pt idx="112">
                  <c:v>201612</c:v>
                </c:pt>
                <c:pt idx="113">
                  <c:v>201701</c:v>
                </c:pt>
                <c:pt idx="114">
                  <c:v>201702</c:v>
                </c:pt>
                <c:pt idx="115">
                  <c:v>201703</c:v>
                </c:pt>
                <c:pt idx="116">
                  <c:v>201704</c:v>
                </c:pt>
                <c:pt idx="117">
                  <c:v>201705</c:v>
                </c:pt>
                <c:pt idx="118">
                  <c:v>201706</c:v>
                </c:pt>
                <c:pt idx="119">
                  <c:v>201707</c:v>
                </c:pt>
                <c:pt idx="120">
                  <c:v>201708</c:v>
                </c:pt>
                <c:pt idx="121">
                  <c:v>201709</c:v>
                </c:pt>
                <c:pt idx="122">
                  <c:v>201710</c:v>
                </c:pt>
                <c:pt idx="123">
                  <c:v>201711</c:v>
                </c:pt>
                <c:pt idx="124">
                  <c:v>201712</c:v>
                </c:pt>
                <c:pt idx="125">
                  <c:v>201801</c:v>
                </c:pt>
                <c:pt idx="126">
                  <c:v>201802</c:v>
                </c:pt>
                <c:pt idx="127">
                  <c:v>201803</c:v>
                </c:pt>
                <c:pt idx="128">
                  <c:v>201804</c:v>
                </c:pt>
                <c:pt idx="129">
                  <c:v>201805</c:v>
                </c:pt>
                <c:pt idx="130">
                  <c:v>201806</c:v>
                </c:pt>
                <c:pt idx="131">
                  <c:v>201807</c:v>
                </c:pt>
                <c:pt idx="132">
                  <c:v>201808</c:v>
                </c:pt>
                <c:pt idx="133">
                  <c:v>201809</c:v>
                </c:pt>
                <c:pt idx="134">
                  <c:v>201810</c:v>
                </c:pt>
                <c:pt idx="135">
                  <c:v>201811</c:v>
                </c:pt>
                <c:pt idx="136">
                  <c:v>201812</c:v>
                </c:pt>
                <c:pt idx="137">
                  <c:v>201901</c:v>
                </c:pt>
                <c:pt idx="138">
                  <c:v>201902</c:v>
                </c:pt>
                <c:pt idx="139">
                  <c:v>201903</c:v>
                </c:pt>
                <c:pt idx="140">
                  <c:v>201904</c:v>
                </c:pt>
                <c:pt idx="141">
                  <c:v>201905</c:v>
                </c:pt>
                <c:pt idx="142">
                  <c:v>201906</c:v>
                </c:pt>
                <c:pt idx="143">
                  <c:v>201907</c:v>
                </c:pt>
                <c:pt idx="144">
                  <c:v>201908</c:v>
                </c:pt>
                <c:pt idx="145">
                  <c:v>201909</c:v>
                </c:pt>
                <c:pt idx="146">
                  <c:v>201910</c:v>
                </c:pt>
                <c:pt idx="147">
                  <c:v>201911</c:v>
                </c:pt>
                <c:pt idx="148">
                  <c:v>201912</c:v>
                </c:pt>
                <c:pt idx="149">
                  <c:v>202001</c:v>
                </c:pt>
                <c:pt idx="150">
                  <c:v>202002</c:v>
                </c:pt>
                <c:pt idx="151">
                  <c:v>202003</c:v>
                </c:pt>
                <c:pt idx="152">
                  <c:v>202004</c:v>
                </c:pt>
                <c:pt idx="153">
                  <c:v>202005</c:v>
                </c:pt>
                <c:pt idx="154">
                  <c:v>202006</c:v>
                </c:pt>
                <c:pt idx="155">
                  <c:v>202007</c:v>
                </c:pt>
                <c:pt idx="156">
                  <c:v>202008</c:v>
                </c:pt>
                <c:pt idx="157">
                  <c:v>202009</c:v>
                </c:pt>
                <c:pt idx="158">
                  <c:v>202010</c:v>
                </c:pt>
                <c:pt idx="159">
                  <c:v>202011</c:v>
                </c:pt>
                <c:pt idx="160">
                  <c:v>202012</c:v>
                </c:pt>
                <c:pt idx="161">
                  <c:v>202101</c:v>
                </c:pt>
                <c:pt idx="162">
                  <c:v>202102</c:v>
                </c:pt>
                <c:pt idx="163">
                  <c:v>202103</c:v>
                </c:pt>
                <c:pt idx="164">
                  <c:v>202104</c:v>
                </c:pt>
                <c:pt idx="165">
                  <c:v>202105</c:v>
                </c:pt>
                <c:pt idx="166">
                  <c:v>202106</c:v>
                </c:pt>
                <c:pt idx="167">
                  <c:v>202107</c:v>
                </c:pt>
                <c:pt idx="168">
                  <c:v>202108</c:v>
                </c:pt>
              </c:numCache>
            </c:numRef>
          </c:cat>
          <c:val>
            <c:numRef>
              <c:f>Arbetslöshet!$O$12:$O$180</c:f>
              <c:numCache>
                <c:formatCode>0.0%</c:formatCode>
                <c:ptCount val="169"/>
                <c:pt idx="0">
                  <c:v>4.924863608856532E-2</c:v>
                </c:pt>
                <c:pt idx="1">
                  <c:v>4.6504517025712303E-2</c:v>
                </c:pt>
                <c:pt idx="2">
                  <c:v>4.5051189788489779E-2</c:v>
                </c:pt>
                <c:pt idx="3">
                  <c:v>4.3871120598544519E-2</c:v>
                </c:pt>
                <c:pt idx="4">
                  <c:v>4.5325825028353285E-2</c:v>
                </c:pt>
                <c:pt idx="5">
                  <c:v>4.5441716697110161E-2</c:v>
                </c:pt>
                <c:pt idx="6">
                  <c:v>4.4503256776853156E-2</c:v>
                </c:pt>
                <c:pt idx="7">
                  <c:v>4.3311888592951972E-2</c:v>
                </c:pt>
                <c:pt idx="8">
                  <c:v>4.186138218936547E-2</c:v>
                </c:pt>
                <c:pt idx="9">
                  <c:v>4.1500784445311009E-2</c:v>
                </c:pt>
                <c:pt idx="10">
                  <c:v>4.4092775486578396E-2</c:v>
                </c:pt>
                <c:pt idx="11">
                  <c:v>4.6311648293146192E-2</c:v>
                </c:pt>
                <c:pt idx="12">
                  <c:v>4.6395542924166554E-2</c:v>
                </c:pt>
                <c:pt idx="13">
                  <c:v>4.6227738899341696E-2</c:v>
                </c:pt>
                <c:pt idx="14">
                  <c:v>4.7815207623406256E-2</c:v>
                </c:pt>
                <c:pt idx="15">
                  <c:v>4.9288379069417056E-2</c:v>
                </c:pt>
                <c:pt idx="16">
                  <c:v>5.4197231748758942E-2</c:v>
                </c:pt>
                <c:pt idx="17">
                  <c:v>5.8653355759318543E-2</c:v>
                </c:pt>
                <c:pt idx="18">
                  <c:v>6.1880352971710358E-2</c:v>
                </c:pt>
                <c:pt idx="19">
                  <c:v>6.5395529833074409E-2</c:v>
                </c:pt>
                <c:pt idx="20">
                  <c:v>6.8250411904081668E-2</c:v>
                </c:pt>
                <c:pt idx="21">
                  <c:v>6.9621434255598913E-2</c:v>
                </c:pt>
                <c:pt idx="22">
                  <c:v>7.5179793991160079E-2</c:v>
                </c:pt>
                <c:pt idx="23">
                  <c:v>7.9312013652746469E-2</c:v>
                </c:pt>
                <c:pt idx="24">
                  <c:v>8.2546665961609644E-2</c:v>
                </c:pt>
                <c:pt idx="25">
                  <c:v>8.1730901546506335E-2</c:v>
                </c:pt>
                <c:pt idx="26">
                  <c:v>8.25311411329471E-2</c:v>
                </c:pt>
                <c:pt idx="27">
                  <c:v>8.293073811824353E-2</c:v>
                </c:pt>
                <c:pt idx="28">
                  <c:v>8.5322958183083442E-2</c:v>
                </c:pt>
                <c:pt idx="29">
                  <c:v>8.7956833871378634E-2</c:v>
                </c:pt>
                <c:pt idx="30">
                  <c:v>8.6913893052532998E-2</c:v>
                </c:pt>
                <c:pt idx="31">
                  <c:v>8.5223357621428256E-2</c:v>
                </c:pt>
                <c:pt idx="32">
                  <c:v>8.2201596584091735E-2</c:v>
                </c:pt>
                <c:pt idx="33">
                  <c:v>8.1093249347277713E-2</c:v>
                </c:pt>
                <c:pt idx="34">
                  <c:v>8.4053156842884488E-2</c:v>
                </c:pt>
                <c:pt idx="35">
                  <c:v>8.4613691854677306E-2</c:v>
                </c:pt>
                <c:pt idx="36">
                  <c:v>8.3405384079443298E-2</c:v>
                </c:pt>
                <c:pt idx="37">
                  <c:v>8.0605811836275035E-2</c:v>
                </c:pt>
                <c:pt idx="38">
                  <c:v>7.8901528092351944E-2</c:v>
                </c:pt>
                <c:pt idx="39">
                  <c:v>7.6976396722718027E-2</c:v>
                </c:pt>
                <c:pt idx="40">
                  <c:v>7.7317627574085501E-2</c:v>
                </c:pt>
                <c:pt idx="41">
                  <c:v>8.0064896266284033E-2</c:v>
                </c:pt>
                <c:pt idx="42">
                  <c:v>7.7929515033354019E-2</c:v>
                </c:pt>
                <c:pt idx="43">
                  <c:v>7.4831573037650451E-2</c:v>
                </c:pt>
                <c:pt idx="44">
                  <c:v>7.1916964395712699E-2</c:v>
                </c:pt>
                <c:pt idx="45">
                  <c:v>7.0508060802488851E-2</c:v>
                </c:pt>
                <c:pt idx="46">
                  <c:v>7.3191307996669425E-2</c:v>
                </c:pt>
                <c:pt idx="47">
                  <c:v>7.4470279022215591E-2</c:v>
                </c:pt>
                <c:pt idx="48">
                  <c:v>7.4348430924242884E-2</c:v>
                </c:pt>
                <c:pt idx="49">
                  <c:v>7.2957091561149906E-2</c:v>
                </c:pt>
                <c:pt idx="50">
                  <c:v>7.2908196678079629E-2</c:v>
                </c:pt>
                <c:pt idx="51">
                  <c:v>7.3168909804335117E-2</c:v>
                </c:pt>
                <c:pt idx="52">
                  <c:v>7.4139183527454605E-2</c:v>
                </c:pt>
                <c:pt idx="53">
                  <c:v>7.4382404006535369E-2</c:v>
                </c:pt>
                <c:pt idx="54">
                  <c:v>7.4131600338804407E-2</c:v>
                </c:pt>
                <c:pt idx="55">
                  <c:v>7.2564461494074778E-2</c:v>
                </c:pt>
                <c:pt idx="56">
                  <c:v>7.0938308185041196E-2</c:v>
                </c:pt>
                <c:pt idx="57">
                  <c:v>6.9454123610756702E-2</c:v>
                </c:pt>
                <c:pt idx="58">
                  <c:v>7.2114315526590381E-2</c:v>
                </c:pt>
                <c:pt idx="59">
                  <c:v>7.3564322616455319E-2</c:v>
                </c:pt>
                <c:pt idx="60">
                  <c:v>7.4901353025067313E-2</c:v>
                </c:pt>
                <c:pt idx="61">
                  <c:v>7.4026894041232971E-2</c:v>
                </c:pt>
                <c:pt idx="62">
                  <c:v>7.4932905291475616E-2</c:v>
                </c:pt>
                <c:pt idx="63">
                  <c:v>7.4812600735099738E-2</c:v>
                </c:pt>
                <c:pt idx="64">
                  <c:v>7.5856825857890636E-2</c:v>
                </c:pt>
                <c:pt idx="65">
                  <c:v>7.6641583234575567E-2</c:v>
                </c:pt>
                <c:pt idx="66">
                  <c:v>7.6039248214948174E-2</c:v>
                </c:pt>
                <c:pt idx="67">
                  <c:v>7.4785878856684918E-2</c:v>
                </c:pt>
                <c:pt idx="68">
                  <c:v>7.2658967638562638E-2</c:v>
                </c:pt>
                <c:pt idx="69">
                  <c:v>7.1168777838768751E-2</c:v>
                </c:pt>
                <c:pt idx="70">
                  <c:v>7.3771056925516512E-2</c:v>
                </c:pt>
                <c:pt idx="71">
                  <c:v>7.5428414122181181E-2</c:v>
                </c:pt>
                <c:pt idx="72">
                  <c:v>7.6445381424872241E-2</c:v>
                </c:pt>
                <c:pt idx="73">
                  <c:v>7.5599991659542523E-2</c:v>
                </c:pt>
                <c:pt idx="74">
                  <c:v>7.4762707761146685E-2</c:v>
                </c:pt>
                <c:pt idx="75">
                  <c:v>7.409797582349649E-2</c:v>
                </c:pt>
                <c:pt idx="76">
                  <c:v>7.4372486710623562E-2</c:v>
                </c:pt>
                <c:pt idx="77">
                  <c:v>7.3343947667077927E-2</c:v>
                </c:pt>
                <c:pt idx="78">
                  <c:v>7.1703438983676843E-2</c:v>
                </c:pt>
                <c:pt idx="79">
                  <c:v>6.9768692067049734E-2</c:v>
                </c:pt>
                <c:pt idx="80">
                  <c:v>6.7304084268486594E-2</c:v>
                </c:pt>
                <c:pt idx="81">
                  <c:v>6.6305279476680357E-2</c:v>
                </c:pt>
                <c:pt idx="82">
                  <c:v>6.7408486848514873E-2</c:v>
                </c:pt>
                <c:pt idx="83">
                  <c:v>6.854380389436962E-2</c:v>
                </c:pt>
                <c:pt idx="84">
                  <c:v>6.9135465289502429E-2</c:v>
                </c:pt>
                <c:pt idx="85">
                  <c:v>6.7466478183095757E-2</c:v>
                </c:pt>
                <c:pt idx="86">
                  <c:v>6.7483874177127035E-2</c:v>
                </c:pt>
                <c:pt idx="87">
                  <c:v>6.7010084796904262E-2</c:v>
                </c:pt>
                <c:pt idx="88">
                  <c:v>6.7835520617937253E-2</c:v>
                </c:pt>
                <c:pt idx="89">
                  <c:v>6.8104606309078289E-2</c:v>
                </c:pt>
                <c:pt idx="90">
                  <c:v>6.7206019922489382E-2</c:v>
                </c:pt>
                <c:pt idx="91">
                  <c:v>6.5066601823307341E-2</c:v>
                </c:pt>
                <c:pt idx="92">
                  <c:v>6.2787651933929919E-2</c:v>
                </c:pt>
                <c:pt idx="93">
                  <c:v>6.1737152311032988E-2</c:v>
                </c:pt>
                <c:pt idx="94">
                  <c:v>6.2758610716890081E-2</c:v>
                </c:pt>
                <c:pt idx="95">
                  <c:v>6.427216103617539E-2</c:v>
                </c:pt>
                <c:pt idx="96">
                  <c:v>6.4559626728576167E-2</c:v>
                </c:pt>
                <c:pt idx="97">
                  <c:v>6.3371965796438431E-2</c:v>
                </c:pt>
                <c:pt idx="98">
                  <c:v>6.3062486318598038E-2</c:v>
                </c:pt>
                <c:pt idx="99">
                  <c:v>6.2657920561954447E-2</c:v>
                </c:pt>
                <c:pt idx="100">
                  <c:v>6.2683095128894833E-2</c:v>
                </c:pt>
                <c:pt idx="101">
                  <c:v>6.2984122318766031E-2</c:v>
                </c:pt>
                <c:pt idx="102">
                  <c:v>6.2143764785676639E-2</c:v>
                </c:pt>
                <c:pt idx="103">
                  <c:v>6.0529660106455913E-2</c:v>
                </c:pt>
                <c:pt idx="104">
                  <c:v>5.8662986688101312E-2</c:v>
                </c:pt>
                <c:pt idx="105">
                  <c:v>5.7071730945793563E-2</c:v>
                </c:pt>
                <c:pt idx="106">
                  <c:v>5.7694952410079992E-2</c:v>
                </c:pt>
                <c:pt idx="107">
                  <c:v>5.8693869181874102E-2</c:v>
                </c:pt>
                <c:pt idx="108">
                  <c:v>5.9077800938308951E-2</c:v>
                </c:pt>
                <c:pt idx="109">
                  <c:v>5.864175379813933E-2</c:v>
                </c:pt>
                <c:pt idx="110">
                  <c:v>5.864175379813933E-2</c:v>
                </c:pt>
                <c:pt idx="111">
                  <c:v>5.8442890251656172E-2</c:v>
                </c:pt>
                <c:pt idx="112">
                  <c:v>5.8579979944262277E-2</c:v>
                </c:pt>
                <c:pt idx="113">
                  <c:v>5.8304837860928757E-2</c:v>
                </c:pt>
                <c:pt idx="114">
                  <c:v>5.7984416062704033E-2</c:v>
                </c:pt>
                <c:pt idx="115">
                  <c:v>5.6842320425160117E-2</c:v>
                </c:pt>
                <c:pt idx="116">
                  <c:v>5.5953159412847862E-2</c:v>
                </c:pt>
                <c:pt idx="117">
                  <c:v>5.4844092963850295E-2</c:v>
                </c:pt>
                <c:pt idx="118">
                  <c:v>5.5831952463298279E-2</c:v>
                </c:pt>
                <c:pt idx="119">
                  <c:v>5.7069071908833736E-2</c:v>
                </c:pt>
                <c:pt idx="120">
                  <c:v>5.7320260783351527E-2</c:v>
                </c:pt>
                <c:pt idx="121">
                  <c:v>5.6696764107549077E-2</c:v>
                </c:pt>
                <c:pt idx="122">
                  <c:v>5.6382814489272591E-2</c:v>
                </c:pt>
                <c:pt idx="123">
                  <c:v>5.6554945275227517E-2</c:v>
                </c:pt>
                <c:pt idx="124">
                  <c:v>5.7038844677389622E-2</c:v>
                </c:pt>
                <c:pt idx="125">
                  <c:v>5.6892213030271206E-2</c:v>
                </c:pt>
                <c:pt idx="126">
                  <c:v>5.6745465225289705E-2</c:v>
                </c:pt>
                <c:pt idx="127">
                  <c:v>5.6022065464511508E-2</c:v>
                </c:pt>
                <c:pt idx="128">
                  <c:v>5.530675653300348E-2</c:v>
                </c:pt>
                <c:pt idx="129">
                  <c:v>5.4485298561733175E-2</c:v>
                </c:pt>
                <c:pt idx="130">
                  <c:v>5.5032482083218044E-2</c:v>
                </c:pt>
                <c:pt idx="131">
                  <c:v>5.5926508491469594E-2</c:v>
                </c:pt>
                <c:pt idx="132">
                  <c:v>5.615801704105345E-2</c:v>
                </c:pt>
                <c:pt idx="133">
                  <c:v>5.6051463718467767E-2</c:v>
                </c:pt>
                <c:pt idx="134">
                  <c:v>5.5371160326457468E-2</c:v>
                </c:pt>
                <c:pt idx="135">
                  <c:v>5.4511105955474801E-2</c:v>
                </c:pt>
                <c:pt idx="136">
                  <c:v>5.4781998557701675E-2</c:v>
                </c:pt>
                <c:pt idx="137">
                  <c:v>5.492834519620541E-2</c:v>
                </c:pt>
                <c:pt idx="138">
                  <c:v>5.4968061371068799E-2</c:v>
                </c:pt>
                <c:pt idx="139">
                  <c:v>5.430689416559302E-2</c:v>
                </c:pt>
                <c:pt idx="140">
                  <c:v>5.3371372371182939E-2</c:v>
                </c:pt>
                <c:pt idx="141">
                  <c:v>5.2969090675900984E-2</c:v>
                </c:pt>
                <c:pt idx="142">
                  <c:v>5.4341239819021822E-2</c:v>
                </c:pt>
                <c:pt idx="143">
                  <c:v>5.6221015301440865E-2</c:v>
                </c:pt>
                <c:pt idx="144">
                  <c:v>5.7686080752132322E-2</c:v>
                </c:pt>
                <c:pt idx="145">
                  <c:v>5.7953435409577599E-2</c:v>
                </c:pt>
                <c:pt idx="146">
                  <c:v>5.7953435409577599E-2</c:v>
                </c:pt>
                <c:pt idx="147">
                  <c:v>5.8263663636225198E-2</c:v>
                </c:pt>
                <c:pt idx="148">
                  <c:v>5.8951533135509396E-2</c:v>
                </c:pt>
                <c:pt idx="149">
                  <c:v>5.9258162961353208E-2</c:v>
                </c:pt>
                <c:pt idx="150">
                  <c:v>5.92704996346878E-2</c:v>
                </c:pt>
                <c:pt idx="151">
                  <c:v>6.2778561669914218E-2</c:v>
                </c:pt>
                <c:pt idx="152">
                  <c:v>7.0434893678464131E-2</c:v>
                </c:pt>
                <c:pt idx="153">
                  <c:v>7.5966766954649587E-2</c:v>
                </c:pt>
                <c:pt idx="154">
                  <c:v>8.2218895815855994E-2</c:v>
                </c:pt>
                <c:pt idx="155">
                  <c:v>8.5643115447225526E-2</c:v>
                </c:pt>
                <c:pt idx="156">
                  <c:v>8.5023341241294861E-2</c:v>
                </c:pt>
                <c:pt idx="157">
                  <c:v>8.2726874177992113E-2</c:v>
                </c:pt>
                <c:pt idx="158">
                  <c:v>8.078413569523489E-2</c:v>
                </c:pt>
                <c:pt idx="159">
                  <c:v>7.943095988853853E-2</c:v>
                </c:pt>
                <c:pt idx="160">
                  <c:v>8.0107202851903619E-2</c:v>
                </c:pt>
                <c:pt idx="161">
                  <c:v>7.9480268657576889E-2</c:v>
                </c:pt>
                <c:pt idx="162">
                  <c:v>7.8263034368048948E-2</c:v>
                </c:pt>
                <c:pt idx="163">
                  <c:v>7.5598172689854803E-2</c:v>
                </c:pt>
                <c:pt idx="164">
                  <c:v>7.3302911367610038E-2</c:v>
                </c:pt>
                <c:pt idx="165">
                  <c:v>7.1365997462768491E-2</c:v>
                </c:pt>
                <c:pt idx="166">
                  <c:v>7.0943857326767959E-2</c:v>
                </c:pt>
                <c:pt idx="167">
                  <c:v>7.1222512865351445E-2</c:v>
                </c:pt>
                <c:pt idx="168">
                  <c:v>6.918362736739318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C8D-4CD1-938A-3081DE7C68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4732776"/>
        <c:axId val="714734416"/>
        <c:extLst>
          <c:ext xmlns:c15="http://schemas.microsoft.com/office/drawing/2012/chart" uri="{02D57815-91ED-43cb-92C2-25804820EDAC}">
            <c15:filteredLineSeries>
              <c15:ser>
                <c:idx val="4"/>
                <c:order val="2"/>
                <c:tx>
                  <c:v>  Sverige exkl. storstadsregioner</c:v>
                </c:tx>
                <c:spPr>
                  <a:ln w="28575" cap="rnd">
                    <a:solidFill>
                      <a:srgbClr val="3B5776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168"/>
                    <c:layout>
                      <c:manualLayout>
                        <c:x val="3.3360525226007708E-3"/>
                        <c:y val="-7.2951631632172127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8-EC8D-4CD1-938A-3081DE7C68E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endParaRPr lang="sv-SE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accent4"/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Arbetslöshet!$A$12:$A$180</c15:sqref>
                        </c15:formulaRef>
                      </c:ext>
                    </c:extLst>
                    <c:numCache>
                      <c:formatCode>General</c:formatCode>
                      <c:ptCount val="169"/>
                      <c:pt idx="0">
                        <c:v>200708</c:v>
                      </c:pt>
                      <c:pt idx="1">
                        <c:v>200709</c:v>
                      </c:pt>
                      <c:pt idx="2">
                        <c:v>200710</c:v>
                      </c:pt>
                      <c:pt idx="3">
                        <c:v>200711</c:v>
                      </c:pt>
                      <c:pt idx="4">
                        <c:v>200712</c:v>
                      </c:pt>
                      <c:pt idx="5">
                        <c:v>200801</c:v>
                      </c:pt>
                      <c:pt idx="6">
                        <c:v>200802</c:v>
                      </c:pt>
                      <c:pt idx="7">
                        <c:v>200803</c:v>
                      </c:pt>
                      <c:pt idx="8">
                        <c:v>200804</c:v>
                      </c:pt>
                      <c:pt idx="9">
                        <c:v>200805</c:v>
                      </c:pt>
                      <c:pt idx="10">
                        <c:v>200806</c:v>
                      </c:pt>
                      <c:pt idx="11">
                        <c:v>200807</c:v>
                      </c:pt>
                      <c:pt idx="12">
                        <c:v>200808</c:v>
                      </c:pt>
                      <c:pt idx="13">
                        <c:v>200809</c:v>
                      </c:pt>
                      <c:pt idx="14">
                        <c:v>200810</c:v>
                      </c:pt>
                      <c:pt idx="15">
                        <c:v>200811</c:v>
                      </c:pt>
                      <c:pt idx="16">
                        <c:v>200812</c:v>
                      </c:pt>
                      <c:pt idx="17">
                        <c:v>200901</c:v>
                      </c:pt>
                      <c:pt idx="18">
                        <c:v>200902</c:v>
                      </c:pt>
                      <c:pt idx="19">
                        <c:v>200903</c:v>
                      </c:pt>
                      <c:pt idx="20">
                        <c:v>200904</c:v>
                      </c:pt>
                      <c:pt idx="21">
                        <c:v>200905</c:v>
                      </c:pt>
                      <c:pt idx="22">
                        <c:v>200906</c:v>
                      </c:pt>
                      <c:pt idx="23">
                        <c:v>200907</c:v>
                      </c:pt>
                      <c:pt idx="24">
                        <c:v>200908</c:v>
                      </c:pt>
                      <c:pt idx="25">
                        <c:v>200909</c:v>
                      </c:pt>
                      <c:pt idx="26">
                        <c:v>200910</c:v>
                      </c:pt>
                      <c:pt idx="27">
                        <c:v>200911</c:v>
                      </c:pt>
                      <c:pt idx="28">
                        <c:v>200912</c:v>
                      </c:pt>
                      <c:pt idx="29">
                        <c:v>201001</c:v>
                      </c:pt>
                      <c:pt idx="30">
                        <c:v>201002</c:v>
                      </c:pt>
                      <c:pt idx="31">
                        <c:v>201003</c:v>
                      </c:pt>
                      <c:pt idx="32">
                        <c:v>201004</c:v>
                      </c:pt>
                      <c:pt idx="33">
                        <c:v>201005</c:v>
                      </c:pt>
                      <c:pt idx="34">
                        <c:v>201006</c:v>
                      </c:pt>
                      <c:pt idx="35">
                        <c:v>201007</c:v>
                      </c:pt>
                      <c:pt idx="36">
                        <c:v>201008</c:v>
                      </c:pt>
                      <c:pt idx="37">
                        <c:v>201009</c:v>
                      </c:pt>
                      <c:pt idx="38">
                        <c:v>201010</c:v>
                      </c:pt>
                      <c:pt idx="39">
                        <c:v>201011</c:v>
                      </c:pt>
                      <c:pt idx="40">
                        <c:v>201012</c:v>
                      </c:pt>
                      <c:pt idx="41">
                        <c:v>201101</c:v>
                      </c:pt>
                      <c:pt idx="42">
                        <c:v>201102</c:v>
                      </c:pt>
                      <c:pt idx="43">
                        <c:v>201103</c:v>
                      </c:pt>
                      <c:pt idx="44">
                        <c:v>201104</c:v>
                      </c:pt>
                      <c:pt idx="45">
                        <c:v>201105</c:v>
                      </c:pt>
                      <c:pt idx="46">
                        <c:v>201106</c:v>
                      </c:pt>
                      <c:pt idx="47">
                        <c:v>201107</c:v>
                      </c:pt>
                      <c:pt idx="48">
                        <c:v>201108</c:v>
                      </c:pt>
                      <c:pt idx="49">
                        <c:v>201109</c:v>
                      </c:pt>
                      <c:pt idx="50">
                        <c:v>201110</c:v>
                      </c:pt>
                      <c:pt idx="51">
                        <c:v>201111</c:v>
                      </c:pt>
                      <c:pt idx="52">
                        <c:v>201112</c:v>
                      </c:pt>
                      <c:pt idx="53">
                        <c:v>201201</c:v>
                      </c:pt>
                      <c:pt idx="54">
                        <c:v>201202</c:v>
                      </c:pt>
                      <c:pt idx="55">
                        <c:v>201203</c:v>
                      </c:pt>
                      <c:pt idx="56">
                        <c:v>201204</c:v>
                      </c:pt>
                      <c:pt idx="57">
                        <c:v>201205</c:v>
                      </c:pt>
                      <c:pt idx="58">
                        <c:v>201206</c:v>
                      </c:pt>
                      <c:pt idx="59">
                        <c:v>201207</c:v>
                      </c:pt>
                      <c:pt idx="60">
                        <c:v>201208</c:v>
                      </c:pt>
                      <c:pt idx="61">
                        <c:v>201209</c:v>
                      </c:pt>
                      <c:pt idx="62">
                        <c:v>201210</c:v>
                      </c:pt>
                      <c:pt idx="63">
                        <c:v>201211</c:v>
                      </c:pt>
                      <c:pt idx="64">
                        <c:v>201212</c:v>
                      </c:pt>
                      <c:pt idx="65">
                        <c:v>201301</c:v>
                      </c:pt>
                      <c:pt idx="66">
                        <c:v>201302</c:v>
                      </c:pt>
                      <c:pt idx="67">
                        <c:v>201303</c:v>
                      </c:pt>
                      <c:pt idx="68">
                        <c:v>201304</c:v>
                      </c:pt>
                      <c:pt idx="69">
                        <c:v>201305</c:v>
                      </c:pt>
                      <c:pt idx="70">
                        <c:v>201306</c:v>
                      </c:pt>
                      <c:pt idx="71">
                        <c:v>201307</c:v>
                      </c:pt>
                      <c:pt idx="72">
                        <c:v>201308</c:v>
                      </c:pt>
                      <c:pt idx="73">
                        <c:v>201309</c:v>
                      </c:pt>
                      <c:pt idx="74">
                        <c:v>201310</c:v>
                      </c:pt>
                      <c:pt idx="75">
                        <c:v>201311</c:v>
                      </c:pt>
                      <c:pt idx="76">
                        <c:v>201312</c:v>
                      </c:pt>
                      <c:pt idx="77">
                        <c:v>201401</c:v>
                      </c:pt>
                      <c:pt idx="78">
                        <c:v>201402</c:v>
                      </c:pt>
                      <c:pt idx="79">
                        <c:v>201403</c:v>
                      </c:pt>
                      <c:pt idx="80">
                        <c:v>201404</c:v>
                      </c:pt>
                      <c:pt idx="81">
                        <c:v>201405</c:v>
                      </c:pt>
                      <c:pt idx="82">
                        <c:v>201406</c:v>
                      </c:pt>
                      <c:pt idx="83">
                        <c:v>201407</c:v>
                      </c:pt>
                      <c:pt idx="84">
                        <c:v>201408</c:v>
                      </c:pt>
                      <c:pt idx="85">
                        <c:v>201409</c:v>
                      </c:pt>
                      <c:pt idx="86">
                        <c:v>201410</c:v>
                      </c:pt>
                      <c:pt idx="87">
                        <c:v>201411</c:v>
                      </c:pt>
                      <c:pt idx="88">
                        <c:v>201412</c:v>
                      </c:pt>
                      <c:pt idx="89">
                        <c:v>201501</c:v>
                      </c:pt>
                      <c:pt idx="90">
                        <c:v>201502</c:v>
                      </c:pt>
                      <c:pt idx="91">
                        <c:v>201503</c:v>
                      </c:pt>
                      <c:pt idx="92">
                        <c:v>201504</c:v>
                      </c:pt>
                      <c:pt idx="93">
                        <c:v>201505</c:v>
                      </c:pt>
                      <c:pt idx="94">
                        <c:v>201506</c:v>
                      </c:pt>
                      <c:pt idx="95">
                        <c:v>201507</c:v>
                      </c:pt>
                      <c:pt idx="96">
                        <c:v>201508</c:v>
                      </c:pt>
                      <c:pt idx="97">
                        <c:v>201509</c:v>
                      </c:pt>
                      <c:pt idx="98">
                        <c:v>201510</c:v>
                      </c:pt>
                      <c:pt idx="99">
                        <c:v>201511</c:v>
                      </c:pt>
                      <c:pt idx="100">
                        <c:v>201512</c:v>
                      </c:pt>
                      <c:pt idx="101">
                        <c:v>201601</c:v>
                      </c:pt>
                      <c:pt idx="102">
                        <c:v>201602</c:v>
                      </c:pt>
                      <c:pt idx="103">
                        <c:v>201603</c:v>
                      </c:pt>
                      <c:pt idx="104">
                        <c:v>201604</c:v>
                      </c:pt>
                      <c:pt idx="105">
                        <c:v>201605</c:v>
                      </c:pt>
                      <c:pt idx="106">
                        <c:v>201606</c:v>
                      </c:pt>
                      <c:pt idx="107">
                        <c:v>201607</c:v>
                      </c:pt>
                      <c:pt idx="108">
                        <c:v>201608</c:v>
                      </c:pt>
                      <c:pt idx="109">
                        <c:v>201609</c:v>
                      </c:pt>
                      <c:pt idx="110">
                        <c:v>201610</c:v>
                      </c:pt>
                      <c:pt idx="111">
                        <c:v>201611</c:v>
                      </c:pt>
                      <c:pt idx="112">
                        <c:v>201612</c:v>
                      </c:pt>
                      <c:pt idx="113">
                        <c:v>201701</c:v>
                      </c:pt>
                      <c:pt idx="114">
                        <c:v>201702</c:v>
                      </c:pt>
                      <c:pt idx="115">
                        <c:v>201703</c:v>
                      </c:pt>
                      <c:pt idx="116">
                        <c:v>201704</c:v>
                      </c:pt>
                      <c:pt idx="117">
                        <c:v>201705</c:v>
                      </c:pt>
                      <c:pt idx="118">
                        <c:v>201706</c:v>
                      </c:pt>
                      <c:pt idx="119">
                        <c:v>201707</c:v>
                      </c:pt>
                      <c:pt idx="120">
                        <c:v>201708</c:v>
                      </c:pt>
                      <c:pt idx="121">
                        <c:v>201709</c:v>
                      </c:pt>
                      <c:pt idx="122">
                        <c:v>201710</c:v>
                      </c:pt>
                      <c:pt idx="123">
                        <c:v>201711</c:v>
                      </c:pt>
                      <c:pt idx="124">
                        <c:v>201712</c:v>
                      </c:pt>
                      <c:pt idx="125">
                        <c:v>201801</c:v>
                      </c:pt>
                      <c:pt idx="126">
                        <c:v>201802</c:v>
                      </c:pt>
                      <c:pt idx="127">
                        <c:v>201803</c:v>
                      </c:pt>
                      <c:pt idx="128">
                        <c:v>201804</c:v>
                      </c:pt>
                      <c:pt idx="129">
                        <c:v>201805</c:v>
                      </c:pt>
                      <c:pt idx="130">
                        <c:v>201806</c:v>
                      </c:pt>
                      <c:pt idx="131">
                        <c:v>201807</c:v>
                      </c:pt>
                      <c:pt idx="132">
                        <c:v>201808</c:v>
                      </c:pt>
                      <c:pt idx="133">
                        <c:v>201809</c:v>
                      </c:pt>
                      <c:pt idx="134">
                        <c:v>201810</c:v>
                      </c:pt>
                      <c:pt idx="135">
                        <c:v>201811</c:v>
                      </c:pt>
                      <c:pt idx="136">
                        <c:v>201812</c:v>
                      </c:pt>
                      <c:pt idx="137">
                        <c:v>201901</c:v>
                      </c:pt>
                      <c:pt idx="138">
                        <c:v>201902</c:v>
                      </c:pt>
                      <c:pt idx="139">
                        <c:v>201903</c:v>
                      </c:pt>
                      <c:pt idx="140">
                        <c:v>201904</c:v>
                      </c:pt>
                      <c:pt idx="141">
                        <c:v>201905</c:v>
                      </c:pt>
                      <c:pt idx="142">
                        <c:v>201906</c:v>
                      </c:pt>
                      <c:pt idx="143">
                        <c:v>201907</c:v>
                      </c:pt>
                      <c:pt idx="144">
                        <c:v>201908</c:v>
                      </c:pt>
                      <c:pt idx="145">
                        <c:v>201909</c:v>
                      </c:pt>
                      <c:pt idx="146">
                        <c:v>201910</c:v>
                      </c:pt>
                      <c:pt idx="147">
                        <c:v>201911</c:v>
                      </c:pt>
                      <c:pt idx="148">
                        <c:v>201912</c:v>
                      </c:pt>
                      <c:pt idx="149">
                        <c:v>202001</c:v>
                      </c:pt>
                      <c:pt idx="150">
                        <c:v>202002</c:v>
                      </c:pt>
                      <c:pt idx="151">
                        <c:v>202003</c:v>
                      </c:pt>
                      <c:pt idx="152">
                        <c:v>202004</c:v>
                      </c:pt>
                      <c:pt idx="153">
                        <c:v>202005</c:v>
                      </c:pt>
                      <c:pt idx="154">
                        <c:v>202006</c:v>
                      </c:pt>
                      <c:pt idx="155">
                        <c:v>202007</c:v>
                      </c:pt>
                      <c:pt idx="156">
                        <c:v>202008</c:v>
                      </c:pt>
                      <c:pt idx="157">
                        <c:v>202009</c:v>
                      </c:pt>
                      <c:pt idx="158">
                        <c:v>202010</c:v>
                      </c:pt>
                      <c:pt idx="159">
                        <c:v>202011</c:v>
                      </c:pt>
                      <c:pt idx="160">
                        <c:v>202012</c:v>
                      </c:pt>
                      <c:pt idx="161">
                        <c:v>202101</c:v>
                      </c:pt>
                      <c:pt idx="162">
                        <c:v>202102</c:v>
                      </c:pt>
                      <c:pt idx="163">
                        <c:v>202103</c:v>
                      </c:pt>
                      <c:pt idx="164">
                        <c:v>202104</c:v>
                      </c:pt>
                      <c:pt idx="165">
                        <c:v>202105</c:v>
                      </c:pt>
                      <c:pt idx="166">
                        <c:v>202106</c:v>
                      </c:pt>
                      <c:pt idx="167">
                        <c:v>202107</c:v>
                      </c:pt>
                      <c:pt idx="168">
                        <c:v>202108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Arbetslöshet!$S$12:$S$180</c15:sqref>
                        </c15:formulaRef>
                      </c:ext>
                    </c:extLst>
                    <c:numCache>
                      <c:formatCode>0.0%</c:formatCode>
                      <c:ptCount val="169"/>
                      <c:pt idx="0">
                        <c:v>5.3343395360566113E-2</c:v>
                      </c:pt>
                      <c:pt idx="1">
                        <c:v>5.2490358890847431E-2</c:v>
                      </c:pt>
                      <c:pt idx="2">
                        <c:v>5.2615746030278618E-2</c:v>
                      </c:pt>
                      <c:pt idx="3">
                        <c:v>5.3119785160244959E-2</c:v>
                      </c:pt>
                      <c:pt idx="4">
                        <c:v>5.6078456133053046E-2</c:v>
                      </c:pt>
                      <c:pt idx="5">
                        <c:v>5.6689151822098036E-2</c:v>
                      </c:pt>
                      <c:pt idx="6">
                        <c:v>5.5615737995363804E-2</c:v>
                      </c:pt>
                      <c:pt idx="7">
                        <c:v>5.3679220421806756E-2</c:v>
                      </c:pt>
                      <c:pt idx="8">
                        <c:v>5.0694860176667127E-2</c:v>
                      </c:pt>
                      <c:pt idx="9">
                        <c:v>4.7675176724035019E-2</c:v>
                      </c:pt>
                      <c:pt idx="10">
                        <c:v>4.7999333184499331E-2</c:v>
                      </c:pt>
                      <c:pt idx="11">
                        <c:v>4.9862701847340873E-2</c:v>
                      </c:pt>
                      <c:pt idx="12">
                        <c:v>5.2286224677972198E-2</c:v>
                      </c:pt>
                      <c:pt idx="13">
                        <c:v>5.4155985201663995E-2</c:v>
                      </c:pt>
                      <c:pt idx="14">
                        <c:v>5.6980105684007146E-2</c:v>
                      </c:pt>
                      <c:pt idx="15">
                        <c:v>6.054169379773755E-2</c:v>
                      </c:pt>
                      <c:pt idx="16">
                        <c:v>6.7917964934456579E-2</c:v>
                      </c:pt>
                      <c:pt idx="17">
                        <c:v>7.2687251768356623E-2</c:v>
                      </c:pt>
                      <c:pt idx="18">
                        <c:v>7.58192112562769E-2</c:v>
                      </c:pt>
                      <c:pt idx="19">
                        <c:v>7.8607422868223559E-2</c:v>
                      </c:pt>
                      <c:pt idx="20">
                        <c:v>7.9828682168379517E-2</c:v>
                      </c:pt>
                      <c:pt idx="21">
                        <c:v>7.9039090324504083E-2</c:v>
                      </c:pt>
                      <c:pt idx="22">
                        <c:v>8.1873764938200796E-2</c:v>
                      </c:pt>
                      <c:pt idx="23">
                        <c:v>8.5078003371712785E-2</c:v>
                      </c:pt>
                      <c:pt idx="24">
                        <c:v>8.8590062849972631E-2</c:v>
                      </c:pt>
                      <c:pt idx="25">
                        <c:v>8.9919099304904646E-2</c:v>
                      </c:pt>
                      <c:pt idx="26">
                        <c:v>9.1727660869592165E-2</c:v>
                      </c:pt>
                      <c:pt idx="27">
                        <c:v>9.3730837316308768E-2</c:v>
                      </c:pt>
                      <c:pt idx="28">
                        <c:v>9.814109694971157E-2</c:v>
                      </c:pt>
                      <c:pt idx="29">
                        <c:v>0.10220903441061649</c:v>
                      </c:pt>
                      <c:pt idx="30">
                        <c:v>0.10159540951170302</c:v>
                      </c:pt>
                      <c:pt idx="31">
                        <c:v>9.9847922272754852E-2</c:v>
                      </c:pt>
                      <c:pt idx="32">
                        <c:v>9.5517074049366699E-2</c:v>
                      </c:pt>
                      <c:pt idx="33">
                        <c:v>9.0985489809777442E-2</c:v>
                      </c:pt>
                      <c:pt idx="34">
                        <c:v>9.12509610773201E-2</c:v>
                      </c:pt>
                      <c:pt idx="35">
                        <c:v>9.2180459704557127E-2</c:v>
                      </c:pt>
                      <c:pt idx="36">
                        <c:v>9.2815782956029616E-2</c:v>
                      </c:pt>
                      <c:pt idx="37">
                        <c:v>9.1880049294810348E-2</c:v>
                      </c:pt>
                      <c:pt idx="38">
                        <c:v>9.1610546741239585E-2</c:v>
                      </c:pt>
                      <c:pt idx="39">
                        <c:v>9.2155040817681028E-2</c:v>
                      </c:pt>
                      <c:pt idx="40">
                        <c:v>9.4514172350650821E-2</c:v>
                      </c:pt>
                      <c:pt idx="41">
                        <c:v>9.8526006659982068E-2</c:v>
                      </c:pt>
                      <c:pt idx="42">
                        <c:v>9.6583472816049148E-2</c:v>
                      </c:pt>
                      <c:pt idx="43">
                        <c:v>9.3589238958672161E-2</c:v>
                      </c:pt>
                      <c:pt idx="44">
                        <c:v>8.9279382871422494E-2</c:v>
                      </c:pt>
                      <c:pt idx="45">
                        <c:v>8.4664874574802845E-2</c:v>
                      </c:pt>
                      <c:pt idx="46">
                        <c:v>8.5052866737980362E-2</c:v>
                      </c:pt>
                      <c:pt idx="47">
                        <c:v>8.6062433853203543E-2</c:v>
                      </c:pt>
                      <c:pt idx="48">
                        <c:v>8.7918449214832495E-2</c:v>
                      </c:pt>
                      <c:pt idx="49">
                        <c:v>8.8001807560783032E-2</c:v>
                      </c:pt>
                      <c:pt idx="50">
                        <c:v>8.9152380296943987E-2</c:v>
                      </c:pt>
                      <c:pt idx="51">
                        <c:v>9.0698409392352297E-2</c:v>
                      </c:pt>
                      <c:pt idx="52">
                        <c:v>9.487467623434083E-2</c:v>
                      </c:pt>
                      <c:pt idx="53">
                        <c:v>9.6073232025606858E-2</c:v>
                      </c:pt>
                      <c:pt idx="54">
                        <c:v>9.5638290233425183E-2</c:v>
                      </c:pt>
                      <c:pt idx="55">
                        <c:v>9.3550038437778607E-2</c:v>
                      </c:pt>
                      <c:pt idx="56">
                        <c:v>9.0433165836973195E-2</c:v>
                      </c:pt>
                      <c:pt idx="57">
                        <c:v>8.6225856518331048E-2</c:v>
                      </c:pt>
                      <c:pt idx="58">
                        <c:v>8.6246980134056614E-2</c:v>
                      </c:pt>
                      <c:pt idx="59">
                        <c:v>8.6548453901465663E-2</c:v>
                      </c:pt>
                      <c:pt idx="60">
                        <c:v>8.9699379371406721E-2</c:v>
                      </c:pt>
                      <c:pt idx="61">
                        <c:v>9.0812645948200182E-2</c:v>
                      </c:pt>
                      <c:pt idx="62">
                        <c:v>9.2439943143444114E-2</c:v>
                      </c:pt>
                      <c:pt idx="63">
                        <c:v>9.3602162410825598E-2</c:v>
                      </c:pt>
                      <c:pt idx="64">
                        <c:v>9.6587812440444426E-2</c:v>
                      </c:pt>
                      <c:pt idx="65">
                        <c:v>9.7126325967062346E-2</c:v>
                      </c:pt>
                      <c:pt idx="66">
                        <c:v>9.6288725085986071E-2</c:v>
                      </c:pt>
                      <c:pt idx="67">
                        <c:v>9.4879895884761464E-2</c:v>
                      </c:pt>
                      <c:pt idx="68">
                        <c:v>9.1230937868600523E-2</c:v>
                      </c:pt>
                      <c:pt idx="69">
                        <c:v>8.6601785865186895E-2</c:v>
                      </c:pt>
                      <c:pt idx="70">
                        <c:v>8.6524914599091993E-2</c:v>
                      </c:pt>
                      <c:pt idx="71">
                        <c:v>8.757618849479426E-2</c:v>
                      </c:pt>
                      <c:pt idx="72">
                        <c:v>8.9675007755289388E-2</c:v>
                      </c:pt>
                      <c:pt idx="73">
                        <c:v>8.9903037557772958E-2</c:v>
                      </c:pt>
                      <c:pt idx="74">
                        <c:v>9.0271986556026959E-2</c:v>
                      </c:pt>
                      <c:pt idx="75">
                        <c:v>9.0706617579789831E-2</c:v>
                      </c:pt>
                      <c:pt idx="76">
                        <c:v>9.3214746126247555E-2</c:v>
                      </c:pt>
                      <c:pt idx="77">
                        <c:v>9.3172574317705245E-2</c:v>
                      </c:pt>
                      <c:pt idx="78">
                        <c:v>9.1600151370010305E-2</c:v>
                      </c:pt>
                      <c:pt idx="79">
                        <c:v>8.8815547579444973E-2</c:v>
                      </c:pt>
                      <c:pt idx="80">
                        <c:v>8.5019777397471005E-2</c:v>
                      </c:pt>
                      <c:pt idx="81">
                        <c:v>8.1054670945942126E-2</c:v>
                      </c:pt>
                      <c:pt idx="82">
                        <c:v>7.949461464472786E-2</c:v>
                      </c:pt>
                      <c:pt idx="83">
                        <c:v>7.9692881410122651E-2</c:v>
                      </c:pt>
                      <c:pt idx="84">
                        <c:v>8.1919374067450187E-2</c:v>
                      </c:pt>
                      <c:pt idx="85">
                        <c:v>8.2581308896241074E-2</c:v>
                      </c:pt>
                      <c:pt idx="86">
                        <c:v>8.3409242856227014E-2</c:v>
                      </c:pt>
                      <c:pt idx="87">
                        <c:v>8.4332681509299318E-2</c:v>
                      </c:pt>
                      <c:pt idx="88">
                        <c:v>8.7146951619523391E-2</c:v>
                      </c:pt>
                      <c:pt idx="89">
                        <c:v>8.7962021856008293E-2</c:v>
                      </c:pt>
                      <c:pt idx="90">
                        <c:v>8.7154505426043319E-2</c:v>
                      </c:pt>
                      <c:pt idx="91">
                        <c:v>8.5107250703771772E-2</c:v>
                      </c:pt>
                      <c:pt idx="92">
                        <c:v>8.2395392521133426E-2</c:v>
                      </c:pt>
                      <c:pt idx="93">
                        <c:v>7.958993614681599E-2</c:v>
                      </c:pt>
                      <c:pt idx="94">
                        <c:v>7.8130800994192978E-2</c:v>
                      </c:pt>
                      <c:pt idx="95">
                        <c:v>7.940173114198272E-2</c:v>
                      </c:pt>
                      <c:pt idx="96">
                        <c:v>8.1332218232603004E-2</c:v>
                      </c:pt>
                      <c:pt idx="97">
                        <c:v>8.2295399707011066E-2</c:v>
                      </c:pt>
                      <c:pt idx="98">
                        <c:v>8.3500655612184699E-2</c:v>
                      </c:pt>
                      <c:pt idx="99">
                        <c:v>8.4583938247245305E-2</c:v>
                      </c:pt>
                      <c:pt idx="100">
                        <c:v>8.6583839812700625E-2</c:v>
                      </c:pt>
                      <c:pt idx="101">
                        <c:v>8.7152201622957101E-2</c:v>
                      </c:pt>
                      <c:pt idx="102">
                        <c:v>8.6085070805978173E-2</c:v>
                      </c:pt>
                      <c:pt idx="103">
                        <c:v>8.4070912902744765E-2</c:v>
                      </c:pt>
                      <c:pt idx="104">
                        <c:v>8.1195189815051097E-2</c:v>
                      </c:pt>
                      <c:pt idx="105">
                        <c:v>7.7945179882594418E-2</c:v>
                      </c:pt>
                      <c:pt idx="106">
                        <c:v>7.6642191177646202E-2</c:v>
                      </c:pt>
                      <c:pt idx="107">
                        <c:v>7.7311920619222096E-2</c:v>
                      </c:pt>
                      <c:pt idx="108">
                        <c:v>7.8925779492635115E-2</c:v>
                      </c:pt>
                      <c:pt idx="109">
                        <c:v>8.0019736204481176E-2</c:v>
                      </c:pt>
                      <c:pt idx="110">
                        <c:v>8.1266656248812158E-2</c:v>
                      </c:pt>
                      <c:pt idx="111">
                        <c:v>8.2537610554152027E-2</c:v>
                      </c:pt>
                      <c:pt idx="112">
                        <c:v>8.4721569171960318E-2</c:v>
                      </c:pt>
                      <c:pt idx="113">
                        <c:v>8.515663491079474E-2</c:v>
                      </c:pt>
                      <c:pt idx="114">
                        <c:v>8.4922487032041097E-2</c:v>
                      </c:pt>
                      <c:pt idx="115">
                        <c:v>8.3389002195142198E-2</c:v>
                      </c:pt>
                      <c:pt idx="116">
                        <c:v>8.1234620260811824E-2</c:v>
                      </c:pt>
                      <c:pt idx="117">
                        <c:v>7.8172753760908903E-2</c:v>
                      </c:pt>
                      <c:pt idx="118">
                        <c:v>7.6741905956253256E-2</c:v>
                      </c:pt>
                      <c:pt idx="119">
                        <c:v>7.7393692067933298E-2</c:v>
                      </c:pt>
                      <c:pt idx="120">
                        <c:v>7.8069362921769567E-2</c:v>
                      </c:pt>
                      <c:pt idx="121">
                        <c:v>7.8877833753588283E-2</c:v>
                      </c:pt>
                      <c:pt idx="122">
                        <c:v>7.9510552939124374E-2</c:v>
                      </c:pt>
                      <c:pt idx="123">
                        <c:v>7.9937443990752588E-2</c:v>
                      </c:pt>
                      <c:pt idx="124">
                        <c:v>8.0994939274780312E-2</c:v>
                      </c:pt>
                      <c:pt idx="125">
                        <c:v>8.0067145094239719E-2</c:v>
                      </c:pt>
                      <c:pt idx="126">
                        <c:v>7.9044692502581226E-2</c:v>
                      </c:pt>
                      <c:pt idx="127">
                        <c:v>7.7491270112975005E-2</c:v>
                      </c:pt>
                      <c:pt idx="128">
                        <c:v>7.5273636365196239E-2</c:v>
                      </c:pt>
                      <c:pt idx="129">
                        <c:v>7.2017411847357063E-2</c:v>
                      </c:pt>
                      <c:pt idx="130">
                        <c:v>7.0986265694022541E-2</c:v>
                      </c:pt>
                      <c:pt idx="131">
                        <c:v>7.1230582047419957E-2</c:v>
                      </c:pt>
                      <c:pt idx="132">
                        <c:v>7.2006226463503034E-2</c:v>
                      </c:pt>
                      <c:pt idx="133">
                        <c:v>7.2515367450639842E-2</c:v>
                      </c:pt>
                      <c:pt idx="134">
                        <c:v>7.2364025054606859E-2</c:v>
                      </c:pt>
                      <c:pt idx="135">
                        <c:v>7.2527179019786142E-2</c:v>
                      </c:pt>
                      <c:pt idx="136">
                        <c:v>7.3838942409316294E-2</c:v>
                      </c:pt>
                      <c:pt idx="137">
                        <c:v>7.3940652446462168E-2</c:v>
                      </c:pt>
                      <c:pt idx="138">
                        <c:v>7.3606835761754391E-2</c:v>
                      </c:pt>
                      <c:pt idx="139">
                        <c:v>7.2700357731002183E-2</c:v>
                      </c:pt>
                      <c:pt idx="140">
                        <c:v>7.0862458641863302E-2</c:v>
                      </c:pt>
                      <c:pt idx="141">
                        <c:v>6.9071877661546599E-2</c:v>
                      </c:pt>
                      <c:pt idx="142">
                        <c:v>6.9666861643889785E-2</c:v>
                      </c:pt>
                      <c:pt idx="143">
                        <c:v>7.1006356227871145E-2</c:v>
                      </c:pt>
                      <c:pt idx="144">
                        <c:v>7.2368168379036368E-2</c:v>
                      </c:pt>
                      <c:pt idx="145">
                        <c:v>7.3584195410784703E-2</c:v>
                      </c:pt>
                      <c:pt idx="146">
                        <c:v>7.4618859927950837E-2</c:v>
                      </c:pt>
                      <c:pt idx="147">
                        <c:v>7.618028947047753E-2</c:v>
                      </c:pt>
                      <c:pt idx="148">
                        <c:v>7.8408186116369336E-2</c:v>
                      </c:pt>
                      <c:pt idx="149">
                        <c:v>7.8932935098158047E-2</c:v>
                      </c:pt>
                      <c:pt idx="150">
                        <c:v>7.8358318970947333E-2</c:v>
                      </c:pt>
                      <c:pt idx="151">
                        <c:v>7.9308424327783525E-2</c:v>
                      </c:pt>
                      <c:pt idx="152">
                        <c:v>8.3278789922777194E-2</c:v>
                      </c:pt>
                      <c:pt idx="153">
                        <c:v>8.5934473012102802E-2</c:v>
                      </c:pt>
                      <c:pt idx="154">
                        <c:v>8.9631745745973671E-2</c:v>
                      </c:pt>
                      <c:pt idx="155">
                        <c:v>9.0948266745627213E-2</c:v>
                      </c:pt>
                      <c:pt idx="156">
                        <c:v>9.0557559070633495E-2</c:v>
                      </c:pt>
                      <c:pt idx="157">
                        <c:v>8.8633999271112873E-2</c:v>
                      </c:pt>
                      <c:pt idx="158">
                        <c:v>8.7252009967714428E-2</c:v>
                      </c:pt>
                      <c:pt idx="159">
                        <c:v>8.6646487801703476E-2</c:v>
                      </c:pt>
                      <c:pt idx="160">
                        <c:v>8.7918125447830203E-2</c:v>
                      </c:pt>
                      <c:pt idx="161">
                        <c:v>8.8074585530683827E-2</c:v>
                      </c:pt>
                      <c:pt idx="162">
                        <c:v>8.7131308486893294E-2</c:v>
                      </c:pt>
                      <c:pt idx="163">
                        <c:v>8.4627126071821338E-2</c:v>
                      </c:pt>
                      <c:pt idx="164">
                        <c:v>8.1830535194969523E-2</c:v>
                      </c:pt>
                      <c:pt idx="165">
                        <c:v>7.8961634702518602E-2</c:v>
                      </c:pt>
                      <c:pt idx="166">
                        <c:v>7.7827669231656058E-2</c:v>
                      </c:pt>
                      <c:pt idx="167">
                        <c:v>7.7761294196602021E-2</c:v>
                      </c:pt>
                      <c:pt idx="168">
                        <c:v>7.6695528476711614E-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9-EC8D-4CD1-938A-3081DE7C68EC}"/>
                  </c:ext>
                </c:extLst>
              </c15:ser>
            </c15:filteredLineSeries>
          </c:ext>
        </c:extLst>
      </c:lineChart>
      <c:catAx>
        <c:axId val="714732776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714734416"/>
        <c:crosses val="autoZero"/>
        <c:auto val="1"/>
        <c:lblAlgn val="ctr"/>
        <c:lblOffset val="100"/>
        <c:tickLblSkip val="12"/>
        <c:tickMarkSkip val="1"/>
        <c:noMultiLvlLbl val="0"/>
      </c:catAx>
      <c:valAx>
        <c:axId val="714734416"/>
        <c:scaling>
          <c:orientation val="minMax"/>
        </c:scaling>
        <c:delete val="0"/>
        <c:axPos val="l"/>
        <c:numFmt formatCode="0%" sourceLinked="0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714732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633465260123643"/>
          <c:y val="0.52704145897568999"/>
          <c:w val="0.27003964682015252"/>
          <c:h val="0.273323535114107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2531290354033E-2"/>
          <c:y val="3.7207211254850991E-2"/>
          <c:w val="0.88206270199311765"/>
          <c:h val="0.79651191734472426"/>
        </c:manualLayout>
      </c:layout>
      <c:lineChart>
        <c:grouping val="standard"/>
        <c:varyColors val="0"/>
        <c:ser>
          <c:idx val="0"/>
          <c:order val="0"/>
          <c:tx>
            <c:v>  Nyanmälda platser</c:v>
          </c:tx>
          <c:spPr>
            <a:ln w="76200" cap="rnd">
              <a:solidFill>
                <a:schemeClr val="accent4"/>
              </a:solidFill>
            </a:ln>
          </c:spPr>
          <c:marker>
            <c:symbol val="none"/>
          </c:marker>
          <c:dLbls>
            <c:dLbl>
              <c:idx val="168"/>
              <c:layout>
                <c:manualLayout>
                  <c:x val="0"/>
                  <c:y val="1.87358632748164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C6F-468E-8532-2776991D0D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ya platser'!$A$179:$A$347</c:f>
              <c:strCache>
                <c:ptCount val="169"/>
                <c:pt idx="0">
                  <c:v>200708</c:v>
                </c:pt>
                <c:pt idx="1">
                  <c:v>200709</c:v>
                </c:pt>
                <c:pt idx="2">
                  <c:v>200710</c:v>
                </c:pt>
                <c:pt idx="3">
                  <c:v>200711</c:v>
                </c:pt>
                <c:pt idx="4">
                  <c:v>200712</c:v>
                </c:pt>
                <c:pt idx="5">
                  <c:v>200801</c:v>
                </c:pt>
                <c:pt idx="6">
                  <c:v>200802</c:v>
                </c:pt>
                <c:pt idx="7">
                  <c:v>200803</c:v>
                </c:pt>
                <c:pt idx="8">
                  <c:v>200804</c:v>
                </c:pt>
                <c:pt idx="9">
                  <c:v>200805</c:v>
                </c:pt>
                <c:pt idx="10">
                  <c:v>200806</c:v>
                </c:pt>
                <c:pt idx="11">
                  <c:v>200807</c:v>
                </c:pt>
                <c:pt idx="12">
                  <c:v>200808</c:v>
                </c:pt>
                <c:pt idx="13">
                  <c:v>200809</c:v>
                </c:pt>
                <c:pt idx="14">
                  <c:v>200810</c:v>
                </c:pt>
                <c:pt idx="15">
                  <c:v>200811</c:v>
                </c:pt>
                <c:pt idx="16">
                  <c:v>200812</c:v>
                </c:pt>
                <c:pt idx="17">
                  <c:v>200901</c:v>
                </c:pt>
                <c:pt idx="18">
                  <c:v>200902</c:v>
                </c:pt>
                <c:pt idx="19">
                  <c:v>200903</c:v>
                </c:pt>
                <c:pt idx="20">
                  <c:v>200904</c:v>
                </c:pt>
                <c:pt idx="21">
                  <c:v>200905</c:v>
                </c:pt>
                <c:pt idx="22">
                  <c:v>200906</c:v>
                </c:pt>
                <c:pt idx="23">
                  <c:v>200907</c:v>
                </c:pt>
                <c:pt idx="24">
                  <c:v>200908</c:v>
                </c:pt>
                <c:pt idx="25">
                  <c:v>200909</c:v>
                </c:pt>
                <c:pt idx="26">
                  <c:v>200910</c:v>
                </c:pt>
                <c:pt idx="27">
                  <c:v>200911</c:v>
                </c:pt>
                <c:pt idx="28">
                  <c:v>200912</c:v>
                </c:pt>
                <c:pt idx="29">
                  <c:v>201001</c:v>
                </c:pt>
                <c:pt idx="30">
                  <c:v>201002</c:v>
                </c:pt>
                <c:pt idx="31">
                  <c:v>201003</c:v>
                </c:pt>
                <c:pt idx="32">
                  <c:v>201004</c:v>
                </c:pt>
                <c:pt idx="33">
                  <c:v>201005</c:v>
                </c:pt>
                <c:pt idx="34">
                  <c:v>201006</c:v>
                </c:pt>
                <c:pt idx="35">
                  <c:v>201007</c:v>
                </c:pt>
                <c:pt idx="36">
                  <c:v>201008</c:v>
                </c:pt>
                <c:pt idx="37">
                  <c:v>201009</c:v>
                </c:pt>
                <c:pt idx="38">
                  <c:v>201010</c:v>
                </c:pt>
                <c:pt idx="39">
                  <c:v>201011</c:v>
                </c:pt>
                <c:pt idx="40">
                  <c:v>201012</c:v>
                </c:pt>
                <c:pt idx="41">
                  <c:v>201101</c:v>
                </c:pt>
                <c:pt idx="42">
                  <c:v>201102</c:v>
                </c:pt>
                <c:pt idx="43">
                  <c:v>201103</c:v>
                </c:pt>
                <c:pt idx="44">
                  <c:v>201104</c:v>
                </c:pt>
                <c:pt idx="45">
                  <c:v>201105</c:v>
                </c:pt>
                <c:pt idx="46">
                  <c:v>201106</c:v>
                </c:pt>
                <c:pt idx="47">
                  <c:v>201107</c:v>
                </c:pt>
                <c:pt idx="48">
                  <c:v>201108</c:v>
                </c:pt>
                <c:pt idx="49">
                  <c:v>201109</c:v>
                </c:pt>
                <c:pt idx="50">
                  <c:v>201110</c:v>
                </c:pt>
                <c:pt idx="51">
                  <c:v>201111</c:v>
                </c:pt>
                <c:pt idx="52">
                  <c:v>201112</c:v>
                </c:pt>
                <c:pt idx="53">
                  <c:v>201201</c:v>
                </c:pt>
                <c:pt idx="54">
                  <c:v>201202</c:v>
                </c:pt>
                <c:pt idx="55">
                  <c:v>201203</c:v>
                </c:pt>
                <c:pt idx="56">
                  <c:v>201204</c:v>
                </c:pt>
                <c:pt idx="57">
                  <c:v>201205</c:v>
                </c:pt>
                <c:pt idx="58">
                  <c:v>201206</c:v>
                </c:pt>
                <c:pt idx="59">
                  <c:v>201207</c:v>
                </c:pt>
                <c:pt idx="60">
                  <c:v>201208</c:v>
                </c:pt>
                <c:pt idx="61">
                  <c:v>201209</c:v>
                </c:pt>
                <c:pt idx="62">
                  <c:v>201210</c:v>
                </c:pt>
                <c:pt idx="63">
                  <c:v>201211</c:v>
                </c:pt>
                <c:pt idx="64">
                  <c:v>201212</c:v>
                </c:pt>
                <c:pt idx="65">
                  <c:v>201301</c:v>
                </c:pt>
                <c:pt idx="66">
                  <c:v>201302</c:v>
                </c:pt>
                <c:pt idx="67">
                  <c:v>201303</c:v>
                </c:pt>
                <c:pt idx="68">
                  <c:v>201304</c:v>
                </c:pt>
                <c:pt idx="69">
                  <c:v>201305</c:v>
                </c:pt>
                <c:pt idx="70">
                  <c:v>201306</c:v>
                </c:pt>
                <c:pt idx="71">
                  <c:v>201307</c:v>
                </c:pt>
                <c:pt idx="72">
                  <c:v>201308</c:v>
                </c:pt>
                <c:pt idx="73">
                  <c:v>201309</c:v>
                </c:pt>
                <c:pt idx="74">
                  <c:v>201310</c:v>
                </c:pt>
                <c:pt idx="75">
                  <c:v>201311</c:v>
                </c:pt>
                <c:pt idx="76">
                  <c:v>201312</c:v>
                </c:pt>
                <c:pt idx="77">
                  <c:v>201401</c:v>
                </c:pt>
                <c:pt idx="78">
                  <c:v>201402</c:v>
                </c:pt>
                <c:pt idx="79">
                  <c:v>201403</c:v>
                </c:pt>
                <c:pt idx="80">
                  <c:v>201404</c:v>
                </c:pt>
                <c:pt idx="81">
                  <c:v>201405</c:v>
                </c:pt>
                <c:pt idx="82">
                  <c:v>201406</c:v>
                </c:pt>
                <c:pt idx="83">
                  <c:v>201407</c:v>
                </c:pt>
                <c:pt idx="84">
                  <c:v>201408</c:v>
                </c:pt>
                <c:pt idx="85">
                  <c:v>201409</c:v>
                </c:pt>
                <c:pt idx="86">
                  <c:v>201410</c:v>
                </c:pt>
                <c:pt idx="87">
                  <c:v>201411</c:v>
                </c:pt>
                <c:pt idx="88">
                  <c:v>201412</c:v>
                </c:pt>
                <c:pt idx="89">
                  <c:v>201501</c:v>
                </c:pt>
                <c:pt idx="90">
                  <c:v>201502</c:v>
                </c:pt>
                <c:pt idx="91">
                  <c:v>201503</c:v>
                </c:pt>
                <c:pt idx="92">
                  <c:v>201504</c:v>
                </c:pt>
                <c:pt idx="93">
                  <c:v>201505</c:v>
                </c:pt>
                <c:pt idx="94">
                  <c:v>201506</c:v>
                </c:pt>
                <c:pt idx="95">
                  <c:v>201507</c:v>
                </c:pt>
                <c:pt idx="96">
                  <c:v>201508</c:v>
                </c:pt>
                <c:pt idx="97">
                  <c:v>201509</c:v>
                </c:pt>
                <c:pt idx="98">
                  <c:v>201510</c:v>
                </c:pt>
                <c:pt idx="99">
                  <c:v>201511</c:v>
                </c:pt>
                <c:pt idx="100">
                  <c:v>201512</c:v>
                </c:pt>
                <c:pt idx="101">
                  <c:v>201601</c:v>
                </c:pt>
                <c:pt idx="102">
                  <c:v>201602</c:v>
                </c:pt>
                <c:pt idx="103">
                  <c:v>201603</c:v>
                </c:pt>
                <c:pt idx="104">
                  <c:v>201604</c:v>
                </c:pt>
                <c:pt idx="105">
                  <c:v>201605</c:v>
                </c:pt>
                <c:pt idx="106">
                  <c:v>201606</c:v>
                </c:pt>
                <c:pt idx="107">
                  <c:v>201607</c:v>
                </c:pt>
                <c:pt idx="108">
                  <c:v>201608</c:v>
                </c:pt>
                <c:pt idx="109">
                  <c:v>201609</c:v>
                </c:pt>
                <c:pt idx="110">
                  <c:v>201610</c:v>
                </c:pt>
                <c:pt idx="111">
                  <c:v>201611</c:v>
                </c:pt>
                <c:pt idx="112">
                  <c:v>201612</c:v>
                </c:pt>
                <c:pt idx="113">
                  <c:v>201701</c:v>
                </c:pt>
                <c:pt idx="114">
                  <c:v>201702</c:v>
                </c:pt>
                <c:pt idx="115">
                  <c:v>201703</c:v>
                </c:pt>
                <c:pt idx="116">
                  <c:v>201704</c:v>
                </c:pt>
                <c:pt idx="117">
                  <c:v>201705</c:v>
                </c:pt>
                <c:pt idx="118">
                  <c:v>201706</c:v>
                </c:pt>
                <c:pt idx="119">
                  <c:v>201707</c:v>
                </c:pt>
                <c:pt idx="120">
                  <c:v>201708</c:v>
                </c:pt>
                <c:pt idx="121">
                  <c:v>201709</c:v>
                </c:pt>
                <c:pt idx="122">
                  <c:v>201710</c:v>
                </c:pt>
                <c:pt idx="123">
                  <c:v>201711</c:v>
                </c:pt>
                <c:pt idx="124">
                  <c:v>201712</c:v>
                </c:pt>
                <c:pt idx="125">
                  <c:v>201801</c:v>
                </c:pt>
                <c:pt idx="126">
                  <c:v>201802</c:v>
                </c:pt>
                <c:pt idx="127">
                  <c:v>201803</c:v>
                </c:pt>
                <c:pt idx="128">
                  <c:v>201804</c:v>
                </c:pt>
                <c:pt idx="129">
                  <c:v>201805</c:v>
                </c:pt>
                <c:pt idx="130">
                  <c:v>201806</c:v>
                </c:pt>
                <c:pt idx="131">
                  <c:v>201807</c:v>
                </c:pt>
                <c:pt idx="132">
                  <c:v>201808</c:v>
                </c:pt>
                <c:pt idx="133">
                  <c:v>201809</c:v>
                </c:pt>
                <c:pt idx="134">
                  <c:v>201810</c:v>
                </c:pt>
                <c:pt idx="135">
                  <c:v>201811</c:v>
                </c:pt>
                <c:pt idx="136">
                  <c:v>201812</c:v>
                </c:pt>
                <c:pt idx="137">
                  <c:v>201901</c:v>
                </c:pt>
                <c:pt idx="138">
                  <c:v>201902</c:v>
                </c:pt>
                <c:pt idx="139">
                  <c:v>201903</c:v>
                </c:pt>
                <c:pt idx="140">
                  <c:v>201904</c:v>
                </c:pt>
                <c:pt idx="141">
                  <c:v>201905</c:v>
                </c:pt>
                <c:pt idx="142">
                  <c:v>201906</c:v>
                </c:pt>
                <c:pt idx="143">
                  <c:v>201907</c:v>
                </c:pt>
                <c:pt idx="144">
                  <c:v>201908</c:v>
                </c:pt>
                <c:pt idx="145">
                  <c:v>201909</c:v>
                </c:pt>
                <c:pt idx="146">
                  <c:v>201910</c:v>
                </c:pt>
                <c:pt idx="147">
                  <c:v>201911</c:v>
                </c:pt>
                <c:pt idx="148">
                  <c:v>201912</c:v>
                </c:pt>
                <c:pt idx="149">
                  <c:v>202001</c:v>
                </c:pt>
                <c:pt idx="150">
                  <c:v>202002</c:v>
                </c:pt>
                <c:pt idx="151">
                  <c:v>202003</c:v>
                </c:pt>
                <c:pt idx="152">
                  <c:v>202004</c:v>
                </c:pt>
                <c:pt idx="153">
                  <c:v>202005</c:v>
                </c:pt>
                <c:pt idx="154">
                  <c:v>202006</c:v>
                </c:pt>
                <c:pt idx="155">
                  <c:v>202007</c:v>
                </c:pt>
                <c:pt idx="156">
                  <c:v>202008</c:v>
                </c:pt>
                <c:pt idx="157">
                  <c:v>202009</c:v>
                </c:pt>
                <c:pt idx="158">
                  <c:v>202010</c:v>
                </c:pt>
                <c:pt idx="159">
                  <c:v>202011</c:v>
                </c:pt>
                <c:pt idx="160">
                  <c:v>202012</c:v>
                </c:pt>
                <c:pt idx="161">
                  <c:v>202101</c:v>
                </c:pt>
                <c:pt idx="162">
                  <c:v>202102</c:v>
                </c:pt>
                <c:pt idx="163">
                  <c:v>202103</c:v>
                </c:pt>
                <c:pt idx="164">
                  <c:v>202104</c:v>
                </c:pt>
                <c:pt idx="165">
                  <c:v>202105</c:v>
                </c:pt>
                <c:pt idx="166">
                  <c:v>202106</c:v>
                </c:pt>
                <c:pt idx="167">
                  <c:v>202107</c:v>
                </c:pt>
                <c:pt idx="168">
                  <c:v>202108</c:v>
                </c:pt>
              </c:strCache>
            </c:strRef>
          </c:cat>
          <c:val>
            <c:numRef>
              <c:f>'Nya platser'!$T$179:$T$347</c:f>
              <c:numCache>
                <c:formatCode>#,##0</c:formatCode>
                <c:ptCount val="169"/>
                <c:pt idx="0">
                  <c:v>4094</c:v>
                </c:pt>
                <c:pt idx="1">
                  <c:v>4377</c:v>
                </c:pt>
                <c:pt idx="2">
                  <c:v>5002</c:v>
                </c:pt>
                <c:pt idx="3">
                  <c:v>4939.333333333333</c:v>
                </c:pt>
                <c:pt idx="4">
                  <c:v>4491.333333333333</c:v>
                </c:pt>
                <c:pt idx="5">
                  <c:v>4367.333333333333</c:v>
                </c:pt>
                <c:pt idx="6">
                  <c:v>4298</c:v>
                </c:pt>
                <c:pt idx="7">
                  <c:v>4461.333333333333</c:v>
                </c:pt>
                <c:pt idx="8">
                  <c:v>4391.333333333333</c:v>
                </c:pt>
                <c:pt idx="9">
                  <c:v>4070.6666666666665</c:v>
                </c:pt>
                <c:pt idx="10">
                  <c:v>3802</c:v>
                </c:pt>
                <c:pt idx="11">
                  <c:v>3113.6666666666665</c:v>
                </c:pt>
                <c:pt idx="12">
                  <c:v>3021.6666666666665</c:v>
                </c:pt>
                <c:pt idx="13">
                  <c:v>3124.6666666666665</c:v>
                </c:pt>
                <c:pt idx="14">
                  <c:v>3321.6666666666665</c:v>
                </c:pt>
                <c:pt idx="15">
                  <c:v>2863.3333333333335</c:v>
                </c:pt>
                <c:pt idx="16">
                  <c:v>2322.6666666666665</c:v>
                </c:pt>
                <c:pt idx="17">
                  <c:v>2017</c:v>
                </c:pt>
                <c:pt idx="18">
                  <c:v>2107.3333333333335</c:v>
                </c:pt>
                <c:pt idx="19">
                  <c:v>2169.6666666666665</c:v>
                </c:pt>
                <c:pt idx="20">
                  <c:v>2055.3333333333335</c:v>
                </c:pt>
                <c:pt idx="21">
                  <c:v>1816</c:v>
                </c:pt>
                <c:pt idx="22">
                  <c:v>1632</c:v>
                </c:pt>
                <c:pt idx="23">
                  <c:v>1439.3333333333333</c:v>
                </c:pt>
                <c:pt idx="24">
                  <c:v>1531.3333333333333</c:v>
                </c:pt>
                <c:pt idx="25">
                  <c:v>1713.6666666666667</c:v>
                </c:pt>
                <c:pt idx="26">
                  <c:v>1992.6666666666667</c:v>
                </c:pt>
                <c:pt idx="27">
                  <c:v>1946</c:v>
                </c:pt>
                <c:pt idx="28">
                  <c:v>1816</c:v>
                </c:pt>
                <c:pt idx="29">
                  <c:v>1946</c:v>
                </c:pt>
                <c:pt idx="30">
                  <c:v>2190.6666666666665</c:v>
                </c:pt>
                <c:pt idx="31">
                  <c:v>2746</c:v>
                </c:pt>
                <c:pt idx="32">
                  <c:v>3004.3333333333335</c:v>
                </c:pt>
                <c:pt idx="33">
                  <c:v>3232.6666666666665</c:v>
                </c:pt>
                <c:pt idx="34">
                  <c:v>3099.6666666666665</c:v>
                </c:pt>
                <c:pt idx="35">
                  <c:v>2818.6666666666665</c:v>
                </c:pt>
                <c:pt idx="36">
                  <c:v>2743.6666666666665</c:v>
                </c:pt>
                <c:pt idx="37">
                  <c:v>3107.6666666666665</c:v>
                </c:pt>
                <c:pt idx="38">
                  <c:v>3488</c:v>
                </c:pt>
                <c:pt idx="39">
                  <c:v>3583.6666666666665</c:v>
                </c:pt>
                <c:pt idx="40">
                  <c:v>3405.3333333333335</c:v>
                </c:pt>
                <c:pt idx="41">
                  <c:v>3572</c:v>
                </c:pt>
                <c:pt idx="42">
                  <c:v>4121.333333333333</c:v>
                </c:pt>
                <c:pt idx="43">
                  <c:v>4654.666666666667</c:v>
                </c:pt>
                <c:pt idx="44">
                  <c:v>5008.666666666667</c:v>
                </c:pt>
                <c:pt idx="45">
                  <c:v>5320.333333333333</c:v>
                </c:pt>
                <c:pt idx="46">
                  <c:v>4952</c:v>
                </c:pt>
                <c:pt idx="47">
                  <c:v>4297</c:v>
                </c:pt>
                <c:pt idx="48">
                  <c:v>3914</c:v>
                </c:pt>
                <c:pt idx="49">
                  <c:v>4103</c:v>
                </c:pt>
                <c:pt idx="50">
                  <c:v>4528</c:v>
                </c:pt>
                <c:pt idx="51">
                  <c:v>4453.333333333333</c:v>
                </c:pt>
                <c:pt idx="52">
                  <c:v>4283.333333333333</c:v>
                </c:pt>
                <c:pt idx="53">
                  <c:v>4301.666666666667</c:v>
                </c:pt>
                <c:pt idx="54">
                  <c:v>4682</c:v>
                </c:pt>
                <c:pt idx="55">
                  <c:v>5322.666666666667</c:v>
                </c:pt>
                <c:pt idx="56">
                  <c:v>5398.333333333333</c:v>
                </c:pt>
                <c:pt idx="57">
                  <c:v>5208</c:v>
                </c:pt>
                <c:pt idx="58">
                  <c:v>4762.666666666667</c:v>
                </c:pt>
                <c:pt idx="59">
                  <c:v>4320</c:v>
                </c:pt>
                <c:pt idx="60">
                  <c:v>4183.333333333333</c:v>
                </c:pt>
                <c:pt idx="61">
                  <c:v>4201</c:v>
                </c:pt>
                <c:pt idx="62">
                  <c:v>4615</c:v>
                </c:pt>
                <c:pt idx="63">
                  <c:v>4655.333333333333</c:v>
                </c:pt>
                <c:pt idx="64">
                  <c:v>4162.333333333333</c:v>
                </c:pt>
                <c:pt idx="65">
                  <c:v>4255</c:v>
                </c:pt>
                <c:pt idx="66">
                  <c:v>4454.666666666667</c:v>
                </c:pt>
                <c:pt idx="67">
                  <c:v>5014</c:v>
                </c:pt>
                <c:pt idx="68">
                  <c:v>4963</c:v>
                </c:pt>
                <c:pt idx="69">
                  <c:v>4892.333333333333</c:v>
                </c:pt>
                <c:pt idx="70">
                  <c:v>4506.333333333333</c:v>
                </c:pt>
                <c:pt idx="71">
                  <c:v>4035</c:v>
                </c:pt>
                <c:pt idx="72">
                  <c:v>3783.6666666666665</c:v>
                </c:pt>
                <c:pt idx="73">
                  <c:v>4014.3333333333335</c:v>
                </c:pt>
                <c:pt idx="74">
                  <c:v>4527.666666666667</c:v>
                </c:pt>
                <c:pt idx="75">
                  <c:v>4575.333333333333</c:v>
                </c:pt>
                <c:pt idx="76">
                  <c:v>4306</c:v>
                </c:pt>
                <c:pt idx="77">
                  <c:v>4145.333333333333</c:v>
                </c:pt>
                <c:pt idx="78">
                  <c:v>4720.333333333333</c:v>
                </c:pt>
                <c:pt idx="79">
                  <c:v>5473</c:v>
                </c:pt>
                <c:pt idx="80">
                  <c:v>5790</c:v>
                </c:pt>
                <c:pt idx="81">
                  <c:v>5115</c:v>
                </c:pt>
                <c:pt idx="82">
                  <c:v>4568.333333333333</c:v>
                </c:pt>
                <c:pt idx="83">
                  <c:v>3749.3333333333335</c:v>
                </c:pt>
                <c:pt idx="84">
                  <c:v>3721</c:v>
                </c:pt>
                <c:pt idx="85">
                  <c:v>3851.3333333333335</c:v>
                </c:pt>
                <c:pt idx="86">
                  <c:v>4905.666666666667</c:v>
                </c:pt>
                <c:pt idx="87">
                  <c:v>4912</c:v>
                </c:pt>
                <c:pt idx="88">
                  <c:v>4707.333333333333</c:v>
                </c:pt>
                <c:pt idx="89">
                  <c:v>4280.666666666667</c:v>
                </c:pt>
                <c:pt idx="90">
                  <c:v>4834.666666666667</c:v>
                </c:pt>
                <c:pt idx="91">
                  <c:v>5712</c:v>
                </c:pt>
                <c:pt idx="92">
                  <c:v>6508</c:v>
                </c:pt>
                <c:pt idx="93">
                  <c:v>6793.333333333333</c:v>
                </c:pt>
                <c:pt idx="94">
                  <c:v>6487</c:v>
                </c:pt>
                <c:pt idx="95">
                  <c:v>5601.666666666667</c:v>
                </c:pt>
                <c:pt idx="96">
                  <c:v>5184.333333333333</c:v>
                </c:pt>
                <c:pt idx="97">
                  <c:v>5499.333333333333</c:v>
                </c:pt>
                <c:pt idx="98">
                  <c:v>6378.333333333333</c:v>
                </c:pt>
                <c:pt idx="99">
                  <c:v>6760</c:v>
                </c:pt>
                <c:pt idx="100">
                  <c:v>6631.666666666667</c:v>
                </c:pt>
                <c:pt idx="101">
                  <c:v>6448</c:v>
                </c:pt>
                <c:pt idx="102">
                  <c:v>7111</c:v>
                </c:pt>
                <c:pt idx="103">
                  <c:v>7555.333333333333</c:v>
                </c:pt>
                <c:pt idx="104">
                  <c:v>8420</c:v>
                </c:pt>
                <c:pt idx="105">
                  <c:v>8729.6666666666661</c:v>
                </c:pt>
                <c:pt idx="106">
                  <c:v>8958.6666666666661</c:v>
                </c:pt>
                <c:pt idx="107">
                  <c:v>8250.3333333333339</c:v>
                </c:pt>
                <c:pt idx="108">
                  <c:v>7649.666666666667</c:v>
                </c:pt>
                <c:pt idx="109">
                  <c:v>7852.666666666667</c:v>
                </c:pt>
                <c:pt idx="110">
                  <c:v>8477.3333333333339</c:v>
                </c:pt>
                <c:pt idx="111">
                  <c:v>8790</c:v>
                </c:pt>
                <c:pt idx="112">
                  <c:v>8246.6666666666661</c:v>
                </c:pt>
                <c:pt idx="113">
                  <c:v>8069.333333333333</c:v>
                </c:pt>
                <c:pt idx="114">
                  <c:v>7397</c:v>
                </c:pt>
                <c:pt idx="115">
                  <c:v>7799</c:v>
                </c:pt>
                <c:pt idx="116">
                  <c:v>7573.666666666667</c:v>
                </c:pt>
                <c:pt idx="117">
                  <c:v>8273</c:v>
                </c:pt>
                <c:pt idx="118">
                  <c:v>7957.333333333333</c:v>
                </c:pt>
                <c:pt idx="119">
                  <c:v>7166</c:v>
                </c:pt>
                <c:pt idx="120">
                  <c:v>6841.333333333333</c:v>
                </c:pt>
                <c:pt idx="121">
                  <c:v>7189.333333333333</c:v>
                </c:pt>
                <c:pt idx="122">
                  <c:v>8001.666666666667</c:v>
                </c:pt>
                <c:pt idx="123">
                  <c:v>8120.666666666667</c:v>
                </c:pt>
                <c:pt idx="124">
                  <c:v>7467.333333333333</c:v>
                </c:pt>
                <c:pt idx="125">
                  <c:v>7719.333333333333</c:v>
                </c:pt>
                <c:pt idx="126">
                  <c:v>7648.666666666667</c:v>
                </c:pt>
                <c:pt idx="127">
                  <c:v>8374.6666666666661</c:v>
                </c:pt>
                <c:pt idx="128">
                  <c:v>8771.3333333333339</c:v>
                </c:pt>
                <c:pt idx="129">
                  <c:v>9617.6666666666661</c:v>
                </c:pt>
                <c:pt idx="130">
                  <c:v>9212.3333333333339</c:v>
                </c:pt>
                <c:pt idx="131">
                  <c:v>8052</c:v>
                </c:pt>
                <c:pt idx="132">
                  <c:v>7343</c:v>
                </c:pt>
                <c:pt idx="133">
                  <c:v>7554.666666666667</c:v>
                </c:pt>
                <c:pt idx="134">
                  <c:v>8597</c:v>
                </c:pt>
                <c:pt idx="135">
                  <c:v>8387.3333333333339</c:v>
                </c:pt>
                <c:pt idx="136">
                  <c:v>7677.666666666667</c:v>
                </c:pt>
                <c:pt idx="137">
                  <c:v>7131</c:v>
                </c:pt>
                <c:pt idx="138">
                  <c:v>6814.666666666667</c:v>
                </c:pt>
                <c:pt idx="139">
                  <c:v>7221</c:v>
                </c:pt>
                <c:pt idx="140">
                  <c:v>7361.333333333333</c:v>
                </c:pt>
                <c:pt idx="141">
                  <c:v>7910.666666666667</c:v>
                </c:pt>
                <c:pt idx="142">
                  <c:v>7401</c:v>
                </c:pt>
                <c:pt idx="143">
                  <c:v>6243.666666666667</c:v>
                </c:pt>
                <c:pt idx="144">
                  <c:v>5412</c:v>
                </c:pt>
                <c:pt idx="145">
                  <c:v>5623.666666666667</c:v>
                </c:pt>
                <c:pt idx="146">
                  <c:v>6385</c:v>
                </c:pt>
                <c:pt idx="147">
                  <c:v>6346.333333333333</c:v>
                </c:pt>
                <c:pt idx="148">
                  <c:v>5938</c:v>
                </c:pt>
                <c:pt idx="149">
                  <c:v>5758.333333333333</c:v>
                </c:pt>
                <c:pt idx="150">
                  <c:v>5797.333333333333</c:v>
                </c:pt>
                <c:pt idx="151">
                  <c:v>6176.666666666667</c:v>
                </c:pt>
                <c:pt idx="152">
                  <c:v>5238.666666666667</c:v>
                </c:pt>
                <c:pt idx="153">
                  <c:v>4378.666666666667</c:v>
                </c:pt>
                <c:pt idx="154">
                  <c:v>3433</c:v>
                </c:pt>
                <c:pt idx="155">
                  <c:v>3160.6666666666665</c:v>
                </c:pt>
                <c:pt idx="156">
                  <c:v>3313</c:v>
                </c:pt>
                <c:pt idx="157">
                  <c:v>3397</c:v>
                </c:pt>
                <c:pt idx="158">
                  <c:v>4407.666666666667</c:v>
                </c:pt>
                <c:pt idx="159">
                  <c:v>4818.666666666667</c:v>
                </c:pt>
                <c:pt idx="160">
                  <c:v>5109.333333333333</c:v>
                </c:pt>
                <c:pt idx="161">
                  <c:v>4626</c:v>
                </c:pt>
                <c:pt idx="162">
                  <c:v>4662.333333333333</c:v>
                </c:pt>
                <c:pt idx="163">
                  <c:v>5319.666666666667</c:v>
                </c:pt>
                <c:pt idx="164">
                  <c:v>6224</c:v>
                </c:pt>
                <c:pt idx="165">
                  <c:v>6952.333333333333</c:v>
                </c:pt>
                <c:pt idx="166">
                  <c:v>7083.333333333333</c:v>
                </c:pt>
                <c:pt idx="167">
                  <c:v>6704</c:v>
                </c:pt>
                <c:pt idx="168">
                  <c:v>6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F-468E-8532-2776991D0D36}"/>
            </c:ext>
          </c:extLst>
        </c:ser>
        <c:ser>
          <c:idx val="1"/>
          <c:order val="1"/>
          <c:tx>
            <c:v>  Varsel</c:v>
          </c:tx>
          <c:spPr>
            <a:ln w="76200" cap="rnd">
              <a:solidFill>
                <a:srgbClr val="7DB094"/>
              </a:solidFill>
            </a:ln>
          </c:spPr>
          <c:marker>
            <c:symbol val="none"/>
          </c:marker>
          <c:dLbls>
            <c:dLbl>
              <c:idx val="16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C6F-468E-8532-2776991D0D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Nya platser'!$A$179:$A$347</c:f>
              <c:strCache>
                <c:ptCount val="169"/>
                <c:pt idx="0">
                  <c:v>200708</c:v>
                </c:pt>
                <c:pt idx="1">
                  <c:v>200709</c:v>
                </c:pt>
                <c:pt idx="2">
                  <c:v>200710</c:v>
                </c:pt>
                <c:pt idx="3">
                  <c:v>200711</c:v>
                </c:pt>
                <c:pt idx="4">
                  <c:v>200712</c:v>
                </c:pt>
                <c:pt idx="5">
                  <c:v>200801</c:v>
                </c:pt>
                <c:pt idx="6">
                  <c:v>200802</c:v>
                </c:pt>
                <c:pt idx="7">
                  <c:v>200803</c:v>
                </c:pt>
                <c:pt idx="8">
                  <c:v>200804</c:v>
                </c:pt>
                <c:pt idx="9">
                  <c:v>200805</c:v>
                </c:pt>
                <c:pt idx="10">
                  <c:v>200806</c:v>
                </c:pt>
                <c:pt idx="11">
                  <c:v>200807</c:v>
                </c:pt>
                <c:pt idx="12">
                  <c:v>200808</c:v>
                </c:pt>
                <c:pt idx="13">
                  <c:v>200809</c:v>
                </c:pt>
                <c:pt idx="14">
                  <c:v>200810</c:v>
                </c:pt>
                <c:pt idx="15">
                  <c:v>200811</c:v>
                </c:pt>
                <c:pt idx="16">
                  <c:v>200812</c:v>
                </c:pt>
                <c:pt idx="17">
                  <c:v>200901</c:v>
                </c:pt>
                <c:pt idx="18">
                  <c:v>200902</c:v>
                </c:pt>
                <c:pt idx="19">
                  <c:v>200903</c:v>
                </c:pt>
                <c:pt idx="20">
                  <c:v>200904</c:v>
                </c:pt>
                <c:pt idx="21">
                  <c:v>200905</c:v>
                </c:pt>
                <c:pt idx="22">
                  <c:v>200906</c:v>
                </c:pt>
                <c:pt idx="23">
                  <c:v>200907</c:v>
                </c:pt>
                <c:pt idx="24">
                  <c:v>200908</c:v>
                </c:pt>
                <c:pt idx="25">
                  <c:v>200909</c:v>
                </c:pt>
                <c:pt idx="26">
                  <c:v>200910</c:v>
                </c:pt>
                <c:pt idx="27">
                  <c:v>200911</c:v>
                </c:pt>
                <c:pt idx="28">
                  <c:v>200912</c:v>
                </c:pt>
                <c:pt idx="29">
                  <c:v>201001</c:v>
                </c:pt>
                <c:pt idx="30">
                  <c:v>201002</c:v>
                </c:pt>
                <c:pt idx="31">
                  <c:v>201003</c:v>
                </c:pt>
                <c:pt idx="32">
                  <c:v>201004</c:v>
                </c:pt>
                <c:pt idx="33">
                  <c:v>201005</c:v>
                </c:pt>
                <c:pt idx="34">
                  <c:v>201006</c:v>
                </c:pt>
                <c:pt idx="35">
                  <c:v>201007</c:v>
                </c:pt>
                <c:pt idx="36">
                  <c:v>201008</c:v>
                </c:pt>
                <c:pt idx="37">
                  <c:v>201009</c:v>
                </c:pt>
                <c:pt idx="38">
                  <c:v>201010</c:v>
                </c:pt>
                <c:pt idx="39">
                  <c:v>201011</c:v>
                </c:pt>
                <c:pt idx="40">
                  <c:v>201012</c:v>
                </c:pt>
                <c:pt idx="41">
                  <c:v>201101</c:v>
                </c:pt>
                <c:pt idx="42">
                  <c:v>201102</c:v>
                </c:pt>
                <c:pt idx="43">
                  <c:v>201103</c:v>
                </c:pt>
                <c:pt idx="44">
                  <c:v>201104</c:v>
                </c:pt>
                <c:pt idx="45">
                  <c:v>201105</c:v>
                </c:pt>
                <c:pt idx="46">
                  <c:v>201106</c:v>
                </c:pt>
                <c:pt idx="47">
                  <c:v>201107</c:v>
                </c:pt>
                <c:pt idx="48">
                  <c:v>201108</c:v>
                </c:pt>
                <c:pt idx="49">
                  <c:v>201109</c:v>
                </c:pt>
                <c:pt idx="50">
                  <c:v>201110</c:v>
                </c:pt>
                <c:pt idx="51">
                  <c:v>201111</c:v>
                </c:pt>
                <c:pt idx="52">
                  <c:v>201112</c:v>
                </c:pt>
                <c:pt idx="53">
                  <c:v>201201</c:v>
                </c:pt>
                <c:pt idx="54">
                  <c:v>201202</c:v>
                </c:pt>
                <c:pt idx="55">
                  <c:v>201203</c:v>
                </c:pt>
                <c:pt idx="56">
                  <c:v>201204</c:v>
                </c:pt>
                <c:pt idx="57">
                  <c:v>201205</c:v>
                </c:pt>
                <c:pt idx="58">
                  <c:v>201206</c:v>
                </c:pt>
                <c:pt idx="59">
                  <c:v>201207</c:v>
                </c:pt>
                <c:pt idx="60">
                  <c:v>201208</c:v>
                </c:pt>
                <c:pt idx="61">
                  <c:v>201209</c:v>
                </c:pt>
                <c:pt idx="62">
                  <c:v>201210</c:v>
                </c:pt>
                <c:pt idx="63">
                  <c:v>201211</c:v>
                </c:pt>
                <c:pt idx="64">
                  <c:v>201212</c:v>
                </c:pt>
                <c:pt idx="65">
                  <c:v>201301</c:v>
                </c:pt>
                <c:pt idx="66">
                  <c:v>201302</c:v>
                </c:pt>
                <c:pt idx="67">
                  <c:v>201303</c:v>
                </c:pt>
                <c:pt idx="68">
                  <c:v>201304</c:v>
                </c:pt>
                <c:pt idx="69">
                  <c:v>201305</c:v>
                </c:pt>
                <c:pt idx="70">
                  <c:v>201306</c:v>
                </c:pt>
                <c:pt idx="71">
                  <c:v>201307</c:v>
                </c:pt>
                <c:pt idx="72">
                  <c:v>201308</c:v>
                </c:pt>
                <c:pt idx="73">
                  <c:v>201309</c:v>
                </c:pt>
                <c:pt idx="74">
                  <c:v>201310</c:v>
                </c:pt>
                <c:pt idx="75">
                  <c:v>201311</c:v>
                </c:pt>
                <c:pt idx="76">
                  <c:v>201312</c:v>
                </c:pt>
                <c:pt idx="77">
                  <c:v>201401</c:v>
                </c:pt>
                <c:pt idx="78">
                  <c:v>201402</c:v>
                </c:pt>
                <c:pt idx="79">
                  <c:v>201403</c:v>
                </c:pt>
                <c:pt idx="80">
                  <c:v>201404</c:v>
                </c:pt>
                <c:pt idx="81">
                  <c:v>201405</c:v>
                </c:pt>
                <c:pt idx="82">
                  <c:v>201406</c:v>
                </c:pt>
                <c:pt idx="83">
                  <c:v>201407</c:v>
                </c:pt>
                <c:pt idx="84">
                  <c:v>201408</c:v>
                </c:pt>
                <c:pt idx="85">
                  <c:v>201409</c:v>
                </c:pt>
                <c:pt idx="86">
                  <c:v>201410</c:v>
                </c:pt>
                <c:pt idx="87">
                  <c:v>201411</c:v>
                </c:pt>
                <c:pt idx="88">
                  <c:v>201412</c:v>
                </c:pt>
                <c:pt idx="89">
                  <c:v>201501</c:v>
                </c:pt>
                <c:pt idx="90">
                  <c:v>201502</c:v>
                </c:pt>
                <c:pt idx="91">
                  <c:v>201503</c:v>
                </c:pt>
                <c:pt idx="92">
                  <c:v>201504</c:v>
                </c:pt>
                <c:pt idx="93">
                  <c:v>201505</c:v>
                </c:pt>
                <c:pt idx="94">
                  <c:v>201506</c:v>
                </c:pt>
                <c:pt idx="95">
                  <c:v>201507</c:v>
                </c:pt>
                <c:pt idx="96">
                  <c:v>201508</c:v>
                </c:pt>
                <c:pt idx="97">
                  <c:v>201509</c:v>
                </c:pt>
                <c:pt idx="98">
                  <c:v>201510</c:v>
                </c:pt>
                <c:pt idx="99">
                  <c:v>201511</c:v>
                </c:pt>
                <c:pt idx="100">
                  <c:v>201512</c:v>
                </c:pt>
                <c:pt idx="101">
                  <c:v>201601</c:v>
                </c:pt>
                <c:pt idx="102">
                  <c:v>201602</c:v>
                </c:pt>
                <c:pt idx="103">
                  <c:v>201603</c:v>
                </c:pt>
                <c:pt idx="104">
                  <c:v>201604</c:v>
                </c:pt>
                <c:pt idx="105">
                  <c:v>201605</c:v>
                </c:pt>
                <c:pt idx="106">
                  <c:v>201606</c:v>
                </c:pt>
                <c:pt idx="107">
                  <c:v>201607</c:v>
                </c:pt>
                <c:pt idx="108">
                  <c:v>201608</c:v>
                </c:pt>
                <c:pt idx="109">
                  <c:v>201609</c:v>
                </c:pt>
                <c:pt idx="110">
                  <c:v>201610</c:v>
                </c:pt>
                <c:pt idx="111">
                  <c:v>201611</c:v>
                </c:pt>
                <c:pt idx="112">
                  <c:v>201612</c:v>
                </c:pt>
                <c:pt idx="113">
                  <c:v>201701</c:v>
                </c:pt>
                <c:pt idx="114">
                  <c:v>201702</c:v>
                </c:pt>
                <c:pt idx="115">
                  <c:v>201703</c:v>
                </c:pt>
                <c:pt idx="116">
                  <c:v>201704</c:v>
                </c:pt>
                <c:pt idx="117">
                  <c:v>201705</c:v>
                </c:pt>
                <c:pt idx="118">
                  <c:v>201706</c:v>
                </c:pt>
                <c:pt idx="119">
                  <c:v>201707</c:v>
                </c:pt>
                <c:pt idx="120">
                  <c:v>201708</c:v>
                </c:pt>
                <c:pt idx="121">
                  <c:v>201709</c:v>
                </c:pt>
                <c:pt idx="122">
                  <c:v>201710</c:v>
                </c:pt>
                <c:pt idx="123">
                  <c:v>201711</c:v>
                </c:pt>
                <c:pt idx="124">
                  <c:v>201712</c:v>
                </c:pt>
                <c:pt idx="125">
                  <c:v>201801</c:v>
                </c:pt>
                <c:pt idx="126">
                  <c:v>201802</c:v>
                </c:pt>
                <c:pt idx="127">
                  <c:v>201803</c:v>
                </c:pt>
                <c:pt idx="128">
                  <c:v>201804</c:v>
                </c:pt>
                <c:pt idx="129">
                  <c:v>201805</c:v>
                </c:pt>
                <c:pt idx="130">
                  <c:v>201806</c:v>
                </c:pt>
                <c:pt idx="131">
                  <c:v>201807</c:v>
                </c:pt>
                <c:pt idx="132">
                  <c:v>201808</c:v>
                </c:pt>
                <c:pt idx="133">
                  <c:v>201809</c:v>
                </c:pt>
                <c:pt idx="134">
                  <c:v>201810</c:v>
                </c:pt>
                <c:pt idx="135">
                  <c:v>201811</c:v>
                </c:pt>
                <c:pt idx="136">
                  <c:v>201812</c:v>
                </c:pt>
                <c:pt idx="137">
                  <c:v>201901</c:v>
                </c:pt>
                <c:pt idx="138">
                  <c:v>201902</c:v>
                </c:pt>
                <c:pt idx="139">
                  <c:v>201903</c:v>
                </c:pt>
                <c:pt idx="140">
                  <c:v>201904</c:v>
                </c:pt>
                <c:pt idx="141">
                  <c:v>201905</c:v>
                </c:pt>
                <c:pt idx="142">
                  <c:v>201906</c:v>
                </c:pt>
                <c:pt idx="143">
                  <c:v>201907</c:v>
                </c:pt>
                <c:pt idx="144">
                  <c:v>201908</c:v>
                </c:pt>
                <c:pt idx="145">
                  <c:v>201909</c:v>
                </c:pt>
                <c:pt idx="146">
                  <c:v>201910</c:v>
                </c:pt>
                <c:pt idx="147">
                  <c:v>201911</c:v>
                </c:pt>
                <c:pt idx="148">
                  <c:v>201912</c:v>
                </c:pt>
                <c:pt idx="149">
                  <c:v>202001</c:v>
                </c:pt>
                <c:pt idx="150">
                  <c:v>202002</c:v>
                </c:pt>
                <c:pt idx="151">
                  <c:v>202003</c:v>
                </c:pt>
                <c:pt idx="152">
                  <c:v>202004</c:v>
                </c:pt>
                <c:pt idx="153">
                  <c:v>202005</c:v>
                </c:pt>
                <c:pt idx="154">
                  <c:v>202006</c:v>
                </c:pt>
                <c:pt idx="155">
                  <c:v>202007</c:v>
                </c:pt>
                <c:pt idx="156">
                  <c:v>202008</c:v>
                </c:pt>
                <c:pt idx="157">
                  <c:v>202009</c:v>
                </c:pt>
                <c:pt idx="158">
                  <c:v>202010</c:v>
                </c:pt>
                <c:pt idx="159">
                  <c:v>202011</c:v>
                </c:pt>
                <c:pt idx="160">
                  <c:v>202012</c:v>
                </c:pt>
                <c:pt idx="161">
                  <c:v>202101</c:v>
                </c:pt>
                <c:pt idx="162">
                  <c:v>202102</c:v>
                </c:pt>
                <c:pt idx="163">
                  <c:v>202103</c:v>
                </c:pt>
                <c:pt idx="164">
                  <c:v>202104</c:v>
                </c:pt>
                <c:pt idx="165">
                  <c:v>202105</c:v>
                </c:pt>
                <c:pt idx="166">
                  <c:v>202106</c:v>
                </c:pt>
                <c:pt idx="167">
                  <c:v>202107</c:v>
                </c:pt>
                <c:pt idx="168">
                  <c:v>202108</c:v>
                </c:pt>
              </c:strCache>
            </c:strRef>
          </c:cat>
          <c:val>
            <c:numRef>
              <c:f>'Varsel - personer'!$T$119:$T$287</c:f>
              <c:numCache>
                <c:formatCode>#,##0</c:formatCode>
                <c:ptCount val="169"/>
                <c:pt idx="0">
                  <c:v>128.66666666666666</c:v>
                </c:pt>
                <c:pt idx="1">
                  <c:v>115.66666666666667</c:v>
                </c:pt>
                <c:pt idx="2">
                  <c:v>133.66666666666666</c:v>
                </c:pt>
                <c:pt idx="3">
                  <c:v>158</c:v>
                </c:pt>
                <c:pt idx="4">
                  <c:v>174.66666666666666</c:v>
                </c:pt>
                <c:pt idx="5">
                  <c:v>165.33333333333334</c:v>
                </c:pt>
                <c:pt idx="6">
                  <c:v>154.33333333333334</c:v>
                </c:pt>
                <c:pt idx="7">
                  <c:v>126.66666666666667</c:v>
                </c:pt>
                <c:pt idx="8">
                  <c:v>122</c:v>
                </c:pt>
                <c:pt idx="9">
                  <c:v>317.66666666666669</c:v>
                </c:pt>
                <c:pt idx="10">
                  <c:v>712.33333333333337</c:v>
                </c:pt>
                <c:pt idx="11">
                  <c:v>825.33333333333337</c:v>
                </c:pt>
                <c:pt idx="12">
                  <c:v>652.33333333333337</c:v>
                </c:pt>
                <c:pt idx="13">
                  <c:v>421</c:v>
                </c:pt>
                <c:pt idx="14">
                  <c:v>1746.3333333333333</c:v>
                </c:pt>
                <c:pt idx="15">
                  <c:v>2146</c:v>
                </c:pt>
                <c:pt idx="16">
                  <c:v>2433.6666666666665</c:v>
                </c:pt>
                <c:pt idx="17">
                  <c:v>1389.3333333333333</c:v>
                </c:pt>
                <c:pt idx="18">
                  <c:v>1345.3333333333333</c:v>
                </c:pt>
                <c:pt idx="19">
                  <c:v>1336</c:v>
                </c:pt>
                <c:pt idx="20">
                  <c:v>1275</c:v>
                </c:pt>
                <c:pt idx="21">
                  <c:v>1192</c:v>
                </c:pt>
                <c:pt idx="22">
                  <c:v>1002</c:v>
                </c:pt>
                <c:pt idx="23">
                  <c:v>756.33333333333337</c:v>
                </c:pt>
                <c:pt idx="24">
                  <c:v>646.33333333333337</c:v>
                </c:pt>
                <c:pt idx="25">
                  <c:v>532.66666666666663</c:v>
                </c:pt>
                <c:pt idx="26">
                  <c:v>565.66666666666663</c:v>
                </c:pt>
                <c:pt idx="27">
                  <c:v>540</c:v>
                </c:pt>
                <c:pt idx="28">
                  <c:v>475.66666666666669</c:v>
                </c:pt>
                <c:pt idx="29">
                  <c:v>390</c:v>
                </c:pt>
                <c:pt idx="30">
                  <c:v>325.33333333333331</c:v>
                </c:pt>
                <c:pt idx="31">
                  <c:v>403</c:v>
                </c:pt>
                <c:pt idx="32">
                  <c:v>414</c:v>
                </c:pt>
                <c:pt idx="33">
                  <c:v>456</c:v>
                </c:pt>
                <c:pt idx="34">
                  <c:v>406</c:v>
                </c:pt>
                <c:pt idx="35">
                  <c:v>376.33333333333331</c:v>
                </c:pt>
                <c:pt idx="36">
                  <c:v>241.66666666666666</c:v>
                </c:pt>
                <c:pt idx="37">
                  <c:v>256</c:v>
                </c:pt>
                <c:pt idx="38">
                  <c:v>338</c:v>
                </c:pt>
                <c:pt idx="39">
                  <c:v>414.66666666666669</c:v>
                </c:pt>
                <c:pt idx="40">
                  <c:v>340</c:v>
                </c:pt>
                <c:pt idx="41">
                  <c:v>295.66666666666669</c:v>
                </c:pt>
                <c:pt idx="42">
                  <c:v>318</c:v>
                </c:pt>
                <c:pt idx="43">
                  <c:v>280</c:v>
                </c:pt>
                <c:pt idx="44">
                  <c:v>274</c:v>
                </c:pt>
                <c:pt idx="45">
                  <c:v>229.66666666666666</c:v>
                </c:pt>
                <c:pt idx="46">
                  <c:v>236</c:v>
                </c:pt>
                <c:pt idx="47">
                  <c:v>229.33333333333334</c:v>
                </c:pt>
                <c:pt idx="48">
                  <c:v>225.33333333333334</c:v>
                </c:pt>
                <c:pt idx="49">
                  <c:v>236</c:v>
                </c:pt>
                <c:pt idx="50">
                  <c:v>307.66666666666669</c:v>
                </c:pt>
                <c:pt idx="51">
                  <c:v>409</c:v>
                </c:pt>
                <c:pt idx="52">
                  <c:v>504.33333333333331</c:v>
                </c:pt>
                <c:pt idx="53">
                  <c:v>510.33333333333331</c:v>
                </c:pt>
                <c:pt idx="54">
                  <c:v>476</c:v>
                </c:pt>
                <c:pt idx="55">
                  <c:v>463</c:v>
                </c:pt>
                <c:pt idx="56">
                  <c:v>412.33333333333331</c:v>
                </c:pt>
                <c:pt idx="57">
                  <c:v>469</c:v>
                </c:pt>
                <c:pt idx="58">
                  <c:v>501.33333333333331</c:v>
                </c:pt>
                <c:pt idx="59">
                  <c:v>468.66666666666669</c:v>
                </c:pt>
                <c:pt idx="60">
                  <c:v>429.66666666666669</c:v>
                </c:pt>
                <c:pt idx="61">
                  <c:v>405</c:v>
                </c:pt>
                <c:pt idx="62">
                  <c:v>466</c:v>
                </c:pt>
                <c:pt idx="63">
                  <c:v>571.33333333333337</c:v>
                </c:pt>
                <c:pt idx="64">
                  <c:v>549</c:v>
                </c:pt>
                <c:pt idx="65">
                  <c:v>582.33333333333337</c:v>
                </c:pt>
                <c:pt idx="66">
                  <c:v>416.33333333333331</c:v>
                </c:pt>
                <c:pt idx="67">
                  <c:v>390.33333333333331</c:v>
                </c:pt>
                <c:pt idx="68">
                  <c:v>394</c:v>
                </c:pt>
                <c:pt idx="69">
                  <c:v>366</c:v>
                </c:pt>
                <c:pt idx="70">
                  <c:v>419.33333333333331</c:v>
                </c:pt>
                <c:pt idx="71">
                  <c:v>354</c:v>
                </c:pt>
                <c:pt idx="72">
                  <c:v>351</c:v>
                </c:pt>
                <c:pt idx="73">
                  <c:v>284.66666666666669</c:v>
                </c:pt>
                <c:pt idx="74">
                  <c:v>439</c:v>
                </c:pt>
                <c:pt idx="75">
                  <c:v>493</c:v>
                </c:pt>
                <c:pt idx="76">
                  <c:v>498.66666666666669</c:v>
                </c:pt>
                <c:pt idx="77">
                  <c:v>314.33333333333331</c:v>
                </c:pt>
                <c:pt idx="78">
                  <c:v>315</c:v>
                </c:pt>
                <c:pt idx="79">
                  <c:v>319</c:v>
                </c:pt>
                <c:pt idx="80">
                  <c:v>360</c:v>
                </c:pt>
                <c:pt idx="81">
                  <c:v>340</c:v>
                </c:pt>
                <c:pt idx="82">
                  <c:v>377.66666666666669</c:v>
                </c:pt>
                <c:pt idx="83">
                  <c:v>302.33333333333331</c:v>
                </c:pt>
                <c:pt idx="84">
                  <c:v>282.66666666666669</c:v>
                </c:pt>
                <c:pt idx="85">
                  <c:v>329</c:v>
                </c:pt>
                <c:pt idx="86">
                  <c:v>454.66666666666669</c:v>
                </c:pt>
                <c:pt idx="87">
                  <c:v>443.33333333333331</c:v>
                </c:pt>
                <c:pt idx="88">
                  <c:v>280.66666666666669</c:v>
                </c:pt>
                <c:pt idx="89">
                  <c:v>399.66666666666669</c:v>
                </c:pt>
                <c:pt idx="90">
                  <c:v>371.66666666666669</c:v>
                </c:pt>
                <c:pt idx="91">
                  <c:v>426</c:v>
                </c:pt>
                <c:pt idx="92">
                  <c:v>219</c:v>
                </c:pt>
                <c:pt idx="93">
                  <c:v>224</c:v>
                </c:pt>
                <c:pt idx="94">
                  <c:v>287.66666666666669</c:v>
                </c:pt>
                <c:pt idx="95">
                  <c:v>254</c:v>
                </c:pt>
                <c:pt idx="96">
                  <c:v>261</c:v>
                </c:pt>
                <c:pt idx="97">
                  <c:v>256.33333333333331</c:v>
                </c:pt>
                <c:pt idx="98">
                  <c:v>376.66666666666669</c:v>
                </c:pt>
                <c:pt idx="99">
                  <c:v>362</c:v>
                </c:pt>
                <c:pt idx="100">
                  <c:v>315.33333333333331</c:v>
                </c:pt>
                <c:pt idx="101">
                  <c:v>241.33333333333334</c:v>
                </c:pt>
                <c:pt idx="102">
                  <c:v>208.33333333333334</c:v>
                </c:pt>
                <c:pt idx="103">
                  <c:v>195</c:v>
                </c:pt>
                <c:pt idx="104">
                  <c:v>210.66666666666666</c:v>
                </c:pt>
                <c:pt idx="105">
                  <c:v>280</c:v>
                </c:pt>
                <c:pt idx="106">
                  <c:v>286</c:v>
                </c:pt>
                <c:pt idx="107">
                  <c:v>203.33333333333334</c:v>
                </c:pt>
                <c:pt idx="108">
                  <c:v>136.66666666666666</c:v>
                </c:pt>
                <c:pt idx="109">
                  <c:v>218.66666666666666</c:v>
                </c:pt>
                <c:pt idx="110">
                  <c:v>322</c:v>
                </c:pt>
                <c:pt idx="111">
                  <c:v>468</c:v>
                </c:pt>
                <c:pt idx="112">
                  <c:v>361</c:v>
                </c:pt>
                <c:pt idx="113">
                  <c:v>264.66666666666669</c:v>
                </c:pt>
                <c:pt idx="114">
                  <c:v>151.33333333333334</c:v>
                </c:pt>
                <c:pt idx="115">
                  <c:v>187.33333333333334</c:v>
                </c:pt>
                <c:pt idx="116">
                  <c:v>199</c:v>
                </c:pt>
                <c:pt idx="117">
                  <c:v>276.66666666666669</c:v>
                </c:pt>
                <c:pt idx="118">
                  <c:v>283.33333333333331</c:v>
                </c:pt>
                <c:pt idx="119">
                  <c:v>283.33333333333331</c:v>
                </c:pt>
                <c:pt idx="120">
                  <c:v>194.66666666666666</c:v>
                </c:pt>
                <c:pt idx="121">
                  <c:v>132.33333333333334</c:v>
                </c:pt>
                <c:pt idx="122">
                  <c:v>153.66666666666666</c:v>
                </c:pt>
                <c:pt idx="123">
                  <c:v>177</c:v>
                </c:pt>
                <c:pt idx="124">
                  <c:v>202</c:v>
                </c:pt>
                <c:pt idx="125">
                  <c:v>244.66666666666666</c:v>
                </c:pt>
                <c:pt idx="126">
                  <c:v>227</c:v>
                </c:pt>
                <c:pt idx="127">
                  <c:v>177.66666666666666</c:v>
                </c:pt>
                <c:pt idx="128">
                  <c:v>135</c:v>
                </c:pt>
                <c:pt idx="129">
                  <c:v>163</c:v>
                </c:pt>
                <c:pt idx="130">
                  <c:v>176</c:v>
                </c:pt>
                <c:pt idx="131">
                  <c:v>157.33333333333334</c:v>
                </c:pt>
                <c:pt idx="132">
                  <c:v>120.33333333333333</c:v>
                </c:pt>
                <c:pt idx="133">
                  <c:v>126.66666666666667</c:v>
                </c:pt>
                <c:pt idx="134">
                  <c:v>219</c:v>
                </c:pt>
                <c:pt idx="135">
                  <c:v>199</c:v>
                </c:pt>
                <c:pt idx="136">
                  <c:v>266</c:v>
                </c:pt>
                <c:pt idx="137">
                  <c:v>211.66666666666666</c:v>
                </c:pt>
                <c:pt idx="138">
                  <c:v>285.66666666666669</c:v>
                </c:pt>
                <c:pt idx="139">
                  <c:v>279</c:v>
                </c:pt>
                <c:pt idx="140">
                  <c:v>342.66666666666669</c:v>
                </c:pt>
                <c:pt idx="141">
                  <c:v>334</c:v>
                </c:pt>
                <c:pt idx="142">
                  <c:v>373</c:v>
                </c:pt>
                <c:pt idx="143">
                  <c:v>265</c:v>
                </c:pt>
                <c:pt idx="144">
                  <c:v>198.66666666666666</c:v>
                </c:pt>
                <c:pt idx="145">
                  <c:v>249.66666666666666</c:v>
                </c:pt>
                <c:pt idx="146">
                  <c:v>309.66666666666669</c:v>
                </c:pt>
                <c:pt idx="147">
                  <c:v>369.66666666666669</c:v>
                </c:pt>
                <c:pt idx="148">
                  <c:v>230.33333333333334</c:v>
                </c:pt>
                <c:pt idx="149">
                  <c:v>237.33333333333334</c:v>
                </c:pt>
                <c:pt idx="150">
                  <c:v>265.66666666666669</c:v>
                </c:pt>
                <c:pt idx="151">
                  <c:v>1879.6666666666667</c:v>
                </c:pt>
                <c:pt idx="152">
                  <c:v>2972.3333333333335</c:v>
                </c:pt>
                <c:pt idx="153">
                  <c:v>3370.3333333333335</c:v>
                </c:pt>
                <c:pt idx="154">
                  <c:v>2260.6666666666665</c:v>
                </c:pt>
                <c:pt idx="155">
                  <c:v>1181.6666666666667</c:v>
                </c:pt>
                <c:pt idx="156">
                  <c:v>743.33333333333337</c:v>
                </c:pt>
                <c:pt idx="157">
                  <c:v>483</c:v>
                </c:pt>
                <c:pt idx="158">
                  <c:v>536.33333333333337</c:v>
                </c:pt>
                <c:pt idx="159">
                  <c:v>617.66666666666663</c:v>
                </c:pt>
                <c:pt idx="160">
                  <c:v>388.66666666666669</c:v>
                </c:pt>
                <c:pt idx="161">
                  <c:v>278.33333333333331</c:v>
                </c:pt>
                <c:pt idx="162">
                  <c:v>171.33333333333334</c:v>
                </c:pt>
                <c:pt idx="163">
                  <c:v>144.33333333333334</c:v>
                </c:pt>
                <c:pt idx="164">
                  <c:v>161</c:v>
                </c:pt>
                <c:pt idx="165">
                  <c:v>198.33333333333334</c:v>
                </c:pt>
                <c:pt idx="166">
                  <c:v>218.33333333333334</c:v>
                </c:pt>
                <c:pt idx="167">
                  <c:v>157</c:v>
                </c:pt>
                <c:pt idx="168">
                  <c:v>95.6666666666666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F-468E-8532-2776991D0D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8212992"/>
        <c:axId val="108214528"/>
      </c:lineChart>
      <c:catAx>
        <c:axId val="10821299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ln w="6350">
            <a:solidFill>
              <a:schemeClr val="tx1"/>
            </a:solidFill>
          </a:ln>
        </c:spPr>
        <c:txPr>
          <a:bodyPr rot="5400000" vert="horz"/>
          <a:lstStyle/>
          <a:p>
            <a:pPr>
              <a:defRPr/>
            </a:pPr>
            <a:endParaRPr lang="sv-SE"/>
          </a:p>
        </c:txPr>
        <c:crossAx val="108214528"/>
        <c:crosses val="autoZero"/>
        <c:auto val="1"/>
        <c:lblAlgn val="ctr"/>
        <c:lblOffset val="100"/>
        <c:tickLblSkip val="12"/>
        <c:tickMarkSkip val="1"/>
        <c:noMultiLvlLbl val="0"/>
      </c:catAx>
      <c:valAx>
        <c:axId val="108214528"/>
        <c:scaling>
          <c:orientation val="minMax"/>
        </c:scaling>
        <c:delete val="0"/>
        <c:axPos val="l"/>
        <c:numFmt formatCode="#,##0" sourceLinked="1"/>
        <c:majorTickMark val="in"/>
        <c:minorTickMark val="none"/>
        <c:tickLblPos val="nextTo"/>
        <c:spPr>
          <a:ln w="6350">
            <a:solidFill>
              <a:schemeClr val="tx1"/>
            </a:solidFill>
          </a:ln>
        </c:spPr>
        <c:crossAx val="108212992"/>
        <c:crosses val="autoZero"/>
        <c:crossBetween val="between"/>
      </c:valAx>
      <c:spPr>
        <a:noFill/>
      </c:spPr>
    </c:plotArea>
    <c:legend>
      <c:legendPos val="r"/>
      <c:layout>
        <c:manualLayout>
          <c:xMode val="edge"/>
          <c:yMode val="edge"/>
          <c:x val="0.11100683211058794"/>
          <c:y val="0.11513892057571939"/>
          <c:w val="0.20963412698412698"/>
          <c:h val="0.1419932079578218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061612805798851E-2"/>
          <c:y val="3.1168611111111109E-2"/>
          <c:w val="0.90398019486464831"/>
          <c:h val="0.73964833333333335"/>
        </c:manualLayout>
      </c:layout>
      <c:lineChart>
        <c:grouping val="standard"/>
        <c:varyColors val="0"/>
        <c:ser>
          <c:idx val="0"/>
          <c:order val="0"/>
          <c:tx>
            <c:v>  Göteborgsregionen</c:v>
          </c:tx>
          <c:spPr>
            <a:ln w="57150" cap="rnd">
              <a:solidFill>
                <a:schemeClr val="accent4"/>
              </a:solidFill>
            </a:ln>
          </c:spPr>
          <c:marker>
            <c:symbol val="none"/>
          </c:marker>
          <c:dLbls>
            <c:dLbl>
              <c:idx val="80"/>
              <c:layout>
                <c:manualLayout>
                  <c:x val="1.3289036544850322E-2"/>
                  <c:y val="3.177124702144529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5AE-44D1-B62E-20671278C8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solidFill>
                        <a:schemeClr val="accent4"/>
                      </a:solidFill>
                    </a:ln>
                  </c:spPr>
                </c15:leaderLines>
              </c:ext>
            </c:extLst>
          </c:dLbls>
          <c:cat>
            <c:strRef>
              <c:f>'Företagens lönesumma'!$A$10:$A$90</c:f>
              <c:strCache>
                <c:ptCount val="81"/>
                <c:pt idx="0">
                  <c:v>2001 Kvartal 2</c:v>
                </c:pt>
                <c:pt idx="1">
                  <c:v>2001 Kvartal 3</c:v>
                </c:pt>
                <c:pt idx="2">
                  <c:v>2001 Kvartal 4</c:v>
                </c:pt>
                <c:pt idx="3">
                  <c:v>2002 Kvartal 1</c:v>
                </c:pt>
                <c:pt idx="4">
                  <c:v>2002 Kvartal 2</c:v>
                </c:pt>
                <c:pt idx="5">
                  <c:v>2002 Kvartal 3</c:v>
                </c:pt>
                <c:pt idx="6">
                  <c:v>2002 Kvartal 4</c:v>
                </c:pt>
                <c:pt idx="7">
                  <c:v>2003 Kvartal 1</c:v>
                </c:pt>
                <c:pt idx="8">
                  <c:v>2003 Kvartal 2</c:v>
                </c:pt>
                <c:pt idx="9">
                  <c:v>2003 Kvartal 3</c:v>
                </c:pt>
                <c:pt idx="10">
                  <c:v>2003 Kvartal 4</c:v>
                </c:pt>
                <c:pt idx="11">
                  <c:v>2004 Kvartal 1</c:v>
                </c:pt>
                <c:pt idx="12">
                  <c:v>2004 Kvartal 2</c:v>
                </c:pt>
                <c:pt idx="13">
                  <c:v>2004 Kvartal 3</c:v>
                </c:pt>
                <c:pt idx="14">
                  <c:v>2004 Kvartal 4</c:v>
                </c:pt>
                <c:pt idx="15">
                  <c:v>2005 Kvartal 1</c:v>
                </c:pt>
                <c:pt idx="16">
                  <c:v>2005 Kvartal 2</c:v>
                </c:pt>
                <c:pt idx="17">
                  <c:v>2005 Kvartal 3</c:v>
                </c:pt>
                <c:pt idx="18">
                  <c:v>2005 Kvartal 4</c:v>
                </c:pt>
                <c:pt idx="19">
                  <c:v>2006 Kvartal 1</c:v>
                </c:pt>
                <c:pt idx="20">
                  <c:v>2006 Kvartal 2</c:v>
                </c:pt>
                <c:pt idx="21">
                  <c:v>2006 Kvartal 3</c:v>
                </c:pt>
                <c:pt idx="22">
                  <c:v>2006 Kvartal 4</c:v>
                </c:pt>
                <c:pt idx="23">
                  <c:v>2007 Kvartal 1</c:v>
                </c:pt>
                <c:pt idx="24">
                  <c:v>2007 Kvartal 2</c:v>
                </c:pt>
                <c:pt idx="25">
                  <c:v>2007 Kvartal 3</c:v>
                </c:pt>
                <c:pt idx="26">
                  <c:v>2007 Kvartal 4</c:v>
                </c:pt>
                <c:pt idx="27">
                  <c:v>2008 Kvartal 1</c:v>
                </c:pt>
                <c:pt idx="28">
                  <c:v>2008 Kvartal 2</c:v>
                </c:pt>
                <c:pt idx="29">
                  <c:v>2008 Kvartal 3</c:v>
                </c:pt>
                <c:pt idx="30">
                  <c:v>2008 Kvartal 4</c:v>
                </c:pt>
                <c:pt idx="31">
                  <c:v>2009 Kvartal 1</c:v>
                </c:pt>
                <c:pt idx="32">
                  <c:v>2009 Kvartal 2</c:v>
                </c:pt>
                <c:pt idx="33">
                  <c:v>2009 Kvartal 3</c:v>
                </c:pt>
                <c:pt idx="34">
                  <c:v>2009 Kvartal 4</c:v>
                </c:pt>
                <c:pt idx="35">
                  <c:v>2010 Kvartal 1</c:v>
                </c:pt>
                <c:pt idx="36">
                  <c:v>2010 Kvartal 2</c:v>
                </c:pt>
                <c:pt idx="37">
                  <c:v>2010 Kvartal 3</c:v>
                </c:pt>
                <c:pt idx="38">
                  <c:v>2010 Kvartal 4</c:v>
                </c:pt>
                <c:pt idx="39">
                  <c:v>2011 Kvartal 1</c:v>
                </c:pt>
                <c:pt idx="40">
                  <c:v>2011 Kvartal 2</c:v>
                </c:pt>
                <c:pt idx="41">
                  <c:v>2011 Kvartal 3</c:v>
                </c:pt>
                <c:pt idx="42">
                  <c:v>2011 Kvartal 4</c:v>
                </c:pt>
                <c:pt idx="43">
                  <c:v>2012 Kvartal 1</c:v>
                </c:pt>
                <c:pt idx="44">
                  <c:v>2012 Kvartal 2</c:v>
                </c:pt>
                <c:pt idx="45">
                  <c:v>2012 Kvartal 3</c:v>
                </c:pt>
                <c:pt idx="46">
                  <c:v>2012 Kvartal 4</c:v>
                </c:pt>
                <c:pt idx="47">
                  <c:v>2013 Kvartal 1</c:v>
                </c:pt>
                <c:pt idx="48">
                  <c:v>2013 Kvartal 2</c:v>
                </c:pt>
                <c:pt idx="49">
                  <c:v>2013 Kvartal 3</c:v>
                </c:pt>
                <c:pt idx="50">
                  <c:v>2013 Kvartal 4</c:v>
                </c:pt>
                <c:pt idx="51">
                  <c:v>2014 Kvartal 1</c:v>
                </c:pt>
                <c:pt idx="52">
                  <c:v>2014 Kvartal 2</c:v>
                </c:pt>
                <c:pt idx="53">
                  <c:v>2014 Kvartal 3</c:v>
                </c:pt>
                <c:pt idx="54">
                  <c:v>2014 Kvartal 4</c:v>
                </c:pt>
                <c:pt idx="55">
                  <c:v>2015 Kvartal 1</c:v>
                </c:pt>
                <c:pt idx="56">
                  <c:v>2015 Kvartal 2</c:v>
                </c:pt>
                <c:pt idx="57">
                  <c:v>2015 Kvartal 3</c:v>
                </c:pt>
                <c:pt idx="58">
                  <c:v>2015 Kvartal 4</c:v>
                </c:pt>
                <c:pt idx="59">
                  <c:v>2016 Kvartal 1</c:v>
                </c:pt>
                <c:pt idx="60">
                  <c:v>2016 Kvartal 2</c:v>
                </c:pt>
                <c:pt idx="61">
                  <c:v>2016 Kvartal 3</c:v>
                </c:pt>
                <c:pt idx="62">
                  <c:v>2016 Kvartal 4</c:v>
                </c:pt>
                <c:pt idx="63">
                  <c:v>2017 Kvartal 1</c:v>
                </c:pt>
                <c:pt idx="64">
                  <c:v>2017 Kvartal 2</c:v>
                </c:pt>
                <c:pt idx="65">
                  <c:v>2017 Kvartal 3</c:v>
                </c:pt>
                <c:pt idx="66">
                  <c:v>2017 Kvartal 4</c:v>
                </c:pt>
                <c:pt idx="67">
                  <c:v>2018 Kvartal 1</c:v>
                </c:pt>
                <c:pt idx="68">
                  <c:v>2018 Kvartal 2</c:v>
                </c:pt>
                <c:pt idx="69">
                  <c:v>2018 Kvartal 3</c:v>
                </c:pt>
                <c:pt idx="70">
                  <c:v>2018 Kvartal 4</c:v>
                </c:pt>
                <c:pt idx="71">
                  <c:v>2019 Kvartal 1</c:v>
                </c:pt>
                <c:pt idx="72">
                  <c:v>2019 Kvartal 2</c:v>
                </c:pt>
                <c:pt idx="73">
                  <c:v>2019 Kvartal 3</c:v>
                </c:pt>
                <c:pt idx="74">
                  <c:v>2019 Kvartal 4</c:v>
                </c:pt>
                <c:pt idx="75">
                  <c:v>2020 Kvartal 1</c:v>
                </c:pt>
                <c:pt idx="76">
                  <c:v>2020 Kvartal 2</c:v>
                </c:pt>
                <c:pt idx="77">
                  <c:v>2020 Kvartal 3</c:v>
                </c:pt>
                <c:pt idx="78">
                  <c:v>2020 Kvartal 4</c:v>
                </c:pt>
                <c:pt idx="79">
                  <c:v>2021 Kvartal 1</c:v>
                </c:pt>
                <c:pt idx="80">
                  <c:v>2021 Kvartal 2</c:v>
                </c:pt>
              </c:strCache>
            </c:strRef>
          </c:cat>
          <c:val>
            <c:numRef>
              <c:f>'Företagens lönesumma'!$G$10:$G$90</c:f>
              <c:numCache>
                <c:formatCode>0.0%</c:formatCode>
                <c:ptCount val="81"/>
                <c:pt idx="0">
                  <c:v>3.3082757256328171E-2</c:v>
                </c:pt>
                <c:pt idx="1">
                  <c:v>4.831372214726054E-2</c:v>
                </c:pt>
                <c:pt idx="2">
                  <c:v>1.9636017446235539E-3</c:v>
                </c:pt>
                <c:pt idx="3">
                  <c:v>4.0233677463106673E-2</c:v>
                </c:pt>
                <c:pt idx="4">
                  <c:v>2.6426558586354131E-2</c:v>
                </c:pt>
                <c:pt idx="5">
                  <c:v>-3.0343656965368614E-3</c:v>
                </c:pt>
                <c:pt idx="6">
                  <c:v>2.1864179827355234E-2</c:v>
                </c:pt>
                <c:pt idx="7">
                  <c:v>2.3221004237671251E-2</c:v>
                </c:pt>
                <c:pt idx="8">
                  <c:v>2.7869570216217675E-2</c:v>
                </c:pt>
                <c:pt idx="9">
                  <c:v>3.4987418108129019E-2</c:v>
                </c:pt>
                <c:pt idx="10">
                  <c:v>1.8232064239417808E-2</c:v>
                </c:pt>
                <c:pt idx="11">
                  <c:v>3.9019807273572148E-2</c:v>
                </c:pt>
                <c:pt idx="12">
                  <c:v>1.8403562478482172E-2</c:v>
                </c:pt>
                <c:pt idx="13">
                  <c:v>2.0828497277022677E-2</c:v>
                </c:pt>
                <c:pt idx="14">
                  <c:v>3.5740586043175704E-2</c:v>
                </c:pt>
                <c:pt idx="15">
                  <c:v>3.6386452983958727E-2</c:v>
                </c:pt>
                <c:pt idx="16">
                  <c:v>6.1969642254620878E-2</c:v>
                </c:pt>
                <c:pt idx="17">
                  <c:v>6.2802355429933218E-2</c:v>
                </c:pt>
                <c:pt idx="18">
                  <c:v>4.463019175354975E-2</c:v>
                </c:pt>
                <c:pt idx="19">
                  <c:v>4.8310986215913766E-2</c:v>
                </c:pt>
                <c:pt idx="20">
                  <c:v>3.2926985516182436E-2</c:v>
                </c:pt>
                <c:pt idx="21">
                  <c:v>2.8052365375954416E-2</c:v>
                </c:pt>
                <c:pt idx="22">
                  <c:v>5.3822653264195504E-2</c:v>
                </c:pt>
                <c:pt idx="23">
                  <c:v>5.2942746737077273E-2</c:v>
                </c:pt>
                <c:pt idx="24">
                  <c:v>4.8311737063544281E-2</c:v>
                </c:pt>
                <c:pt idx="25">
                  <c:v>5.1859974382479627E-2</c:v>
                </c:pt>
                <c:pt idx="26">
                  <c:v>5.0972945416419252E-2</c:v>
                </c:pt>
                <c:pt idx="27">
                  <c:v>5.2085614205896975E-2</c:v>
                </c:pt>
                <c:pt idx="28">
                  <c:v>5.1316322245395292E-2</c:v>
                </c:pt>
                <c:pt idx="29">
                  <c:v>2.7085668818146599E-2</c:v>
                </c:pt>
                <c:pt idx="30">
                  <c:v>8.2226140405304029E-4</c:v>
                </c:pt>
                <c:pt idx="31">
                  <c:v>-2.5792896454444499E-3</c:v>
                </c:pt>
                <c:pt idx="32">
                  <c:v>-2.1141055723782672E-2</c:v>
                </c:pt>
                <c:pt idx="33">
                  <c:v>-1.1569706408089747E-2</c:v>
                </c:pt>
                <c:pt idx="34">
                  <c:v>-1.4272555440351846E-2</c:v>
                </c:pt>
                <c:pt idx="35">
                  <c:v>-1.4614945114701365E-2</c:v>
                </c:pt>
                <c:pt idx="36">
                  <c:v>1.9075582646824973E-2</c:v>
                </c:pt>
                <c:pt idx="37">
                  <c:v>2.4103568267998247E-2</c:v>
                </c:pt>
                <c:pt idx="38">
                  <c:v>4.2253095351743687E-2</c:v>
                </c:pt>
                <c:pt idx="39">
                  <c:v>4.8238434129483386E-2</c:v>
                </c:pt>
                <c:pt idx="40">
                  <c:v>3.8366263313835941E-2</c:v>
                </c:pt>
                <c:pt idx="41">
                  <c:v>5.1290546954640658E-2</c:v>
                </c:pt>
                <c:pt idx="42">
                  <c:v>4.0000467114462035E-2</c:v>
                </c:pt>
                <c:pt idx="43">
                  <c:v>3.5897518861738871E-2</c:v>
                </c:pt>
                <c:pt idx="44">
                  <c:v>4.6069237165734515E-2</c:v>
                </c:pt>
                <c:pt idx="45">
                  <c:v>4.2993717742784335E-2</c:v>
                </c:pt>
                <c:pt idx="46">
                  <c:v>5.0460190027823384E-2</c:v>
                </c:pt>
                <c:pt idx="47">
                  <c:v>3.7459584460905741E-2</c:v>
                </c:pt>
                <c:pt idx="48">
                  <c:v>2.7577683136124031E-2</c:v>
                </c:pt>
                <c:pt idx="49">
                  <c:v>3.1039440974161628E-2</c:v>
                </c:pt>
                <c:pt idx="50">
                  <c:v>2.4449214437485205E-2</c:v>
                </c:pt>
                <c:pt idx="51">
                  <c:v>3.9464052557441967E-2</c:v>
                </c:pt>
                <c:pt idx="52">
                  <c:v>5.1693480276499622E-2</c:v>
                </c:pt>
                <c:pt idx="53">
                  <c:v>4.497150044736771E-2</c:v>
                </c:pt>
                <c:pt idx="54">
                  <c:v>4.3713813461108586E-2</c:v>
                </c:pt>
                <c:pt idx="55">
                  <c:v>4.7191567067184657E-2</c:v>
                </c:pt>
                <c:pt idx="56">
                  <c:v>5.5575828857945347E-2</c:v>
                </c:pt>
                <c:pt idx="57">
                  <c:v>4.7603504584686207E-2</c:v>
                </c:pt>
                <c:pt idx="58">
                  <c:v>6.1752477592769597E-2</c:v>
                </c:pt>
                <c:pt idx="59">
                  <c:v>5.3279422903357188E-2</c:v>
                </c:pt>
                <c:pt idx="60">
                  <c:v>4.050076694615197E-2</c:v>
                </c:pt>
                <c:pt idx="61">
                  <c:v>3.799150266199388E-2</c:v>
                </c:pt>
                <c:pt idx="62">
                  <c:v>4.4443409429799616E-2</c:v>
                </c:pt>
                <c:pt idx="63">
                  <c:v>3.1161920006974611E-2</c:v>
                </c:pt>
                <c:pt idx="64">
                  <c:v>3.9487950529659768E-2</c:v>
                </c:pt>
                <c:pt idx="65">
                  <c:v>4.0287050148750697E-2</c:v>
                </c:pt>
                <c:pt idx="66">
                  <c:v>3.8721747534645239E-2</c:v>
                </c:pt>
                <c:pt idx="67">
                  <c:v>5.7144921315741698E-2</c:v>
                </c:pt>
                <c:pt idx="68">
                  <c:v>5.5551533020826931E-2</c:v>
                </c:pt>
                <c:pt idx="69">
                  <c:v>3.989486671533124E-2</c:v>
                </c:pt>
                <c:pt idx="70">
                  <c:v>3.1007400746732784E-2</c:v>
                </c:pt>
                <c:pt idx="71">
                  <c:v>4.2072715210395524E-2</c:v>
                </c:pt>
                <c:pt idx="72">
                  <c:v>2.659992529750552E-2</c:v>
                </c:pt>
                <c:pt idx="73">
                  <c:v>3.6124976400519475E-2</c:v>
                </c:pt>
                <c:pt idx="74">
                  <c:v>2.4910229515529708E-2</c:v>
                </c:pt>
                <c:pt idx="75">
                  <c:v>3.5466079775598826E-2</c:v>
                </c:pt>
                <c:pt idx="76">
                  <c:v>-1.4881965243549322E-2</c:v>
                </c:pt>
                <c:pt idx="77">
                  <c:v>-2.3681224360449855E-2</c:v>
                </c:pt>
                <c:pt idx="78">
                  <c:v>-9.983852105247602E-3</c:v>
                </c:pt>
                <c:pt idx="79">
                  <c:v>-5.3525746487244619E-3</c:v>
                </c:pt>
                <c:pt idx="80">
                  <c:v>5.201179895782377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5AE-44D1-B62E-20671278C86E}"/>
            </c:ext>
          </c:extLst>
        </c:ser>
        <c:ser>
          <c:idx val="1"/>
          <c:order val="1"/>
          <c:tx>
            <c:v>  Sverige</c:v>
          </c:tx>
          <c:spPr>
            <a:ln w="57150" cap="rnd"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80"/>
              <c:layout>
                <c:manualLayout>
                  <c:x val="-5.7417769924636979E-2"/>
                  <c:y val="-4.31658671736723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5AE-44D1-B62E-20671278C86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solidFill>
                        <a:schemeClr val="accent1"/>
                      </a:solidFill>
                    </a:ln>
                  </c:spPr>
                </c15:leaderLines>
              </c:ext>
            </c:extLst>
          </c:dLbls>
          <c:cat>
            <c:strRef>
              <c:f>'Företagens lönesumma'!$A$10:$A$90</c:f>
              <c:strCache>
                <c:ptCount val="81"/>
                <c:pt idx="0">
                  <c:v>2001 Kvartal 2</c:v>
                </c:pt>
                <c:pt idx="1">
                  <c:v>2001 Kvartal 3</c:v>
                </c:pt>
                <c:pt idx="2">
                  <c:v>2001 Kvartal 4</c:v>
                </c:pt>
                <c:pt idx="3">
                  <c:v>2002 Kvartal 1</c:v>
                </c:pt>
                <c:pt idx="4">
                  <c:v>2002 Kvartal 2</c:v>
                </c:pt>
                <c:pt idx="5">
                  <c:v>2002 Kvartal 3</c:v>
                </c:pt>
                <c:pt idx="6">
                  <c:v>2002 Kvartal 4</c:v>
                </c:pt>
                <c:pt idx="7">
                  <c:v>2003 Kvartal 1</c:v>
                </c:pt>
                <c:pt idx="8">
                  <c:v>2003 Kvartal 2</c:v>
                </c:pt>
                <c:pt idx="9">
                  <c:v>2003 Kvartal 3</c:v>
                </c:pt>
                <c:pt idx="10">
                  <c:v>2003 Kvartal 4</c:v>
                </c:pt>
                <c:pt idx="11">
                  <c:v>2004 Kvartal 1</c:v>
                </c:pt>
                <c:pt idx="12">
                  <c:v>2004 Kvartal 2</c:v>
                </c:pt>
                <c:pt idx="13">
                  <c:v>2004 Kvartal 3</c:v>
                </c:pt>
                <c:pt idx="14">
                  <c:v>2004 Kvartal 4</c:v>
                </c:pt>
                <c:pt idx="15">
                  <c:v>2005 Kvartal 1</c:v>
                </c:pt>
                <c:pt idx="16">
                  <c:v>2005 Kvartal 2</c:v>
                </c:pt>
                <c:pt idx="17">
                  <c:v>2005 Kvartal 3</c:v>
                </c:pt>
                <c:pt idx="18">
                  <c:v>2005 Kvartal 4</c:v>
                </c:pt>
                <c:pt idx="19">
                  <c:v>2006 Kvartal 1</c:v>
                </c:pt>
                <c:pt idx="20">
                  <c:v>2006 Kvartal 2</c:v>
                </c:pt>
                <c:pt idx="21">
                  <c:v>2006 Kvartal 3</c:v>
                </c:pt>
                <c:pt idx="22">
                  <c:v>2006 Kvartal 4</c:v>
                </c:pt>
                <c:pt idx="23">
                  <c:v>2007 Kvartal 1</c:v>
                </c:pt>
                <c:pt idx="24">
                  <c:v>2007 Kvartal 2</c:v>
                </c:pt>
                <c:pt idx="25">
                  <c:v>2007 Kvartal 3</c:v>
                </c:pt>
                <c:pt idx="26">
                  <c:v>2007 Kvartal 4</c:v>
                </c:pt>
                <c:pt idx="27">
                  <c:v>2008 Kvartal 1</c:v>
                </c:pt>
                <c:pt idx="28">
                  <c:v>2008 Kvartal 2</c:v>
                </c:pt>
                <c:pt idx="29">
                  <c:v>2008 Kvartal 3</c:v>
                </c:pt>
                <c:pt idx="30">
                  <c:v>2008 Kvartal 4</c:v>
                </c:pt>
                <c:pt idx="31">
                  <c:v>2009 Kvartal 1</c:v>
                </c:pt>
                <c:pt idx="32">
                  <c:v>2009 Kvartal 2</c:v>
                </c:pt>
                <c:pt idx="33">
                  <c:v>2009 Kvartal 3</c:v>
                </c:pt>
                <c:pt idx="34">
                  <c:v>2009 Kvartal 4</c:v>
                </c:pt>
                <c:pt idx="35">
                  <c:v>2010 Kvartal 1</c:v>
                </c:pt>
                <c:pt idx="36">
                  <c:v>2010 Kvartal 2</c:v>
                </c:pt>
                <c:pt idx="37">
                  <c:v>2010 Kvartal 3</c:v>
                </c:pt>
                <c:pt idx="38">
                  <c:v>2010 Kvartal 4</c:v>
                </c:pt>
                <c:pt idx="39">
                  <c:v>2011 Kvartal 1</c:v>
                </c:pt>
                <c:pt idx="40">
                  <c:v>2011 Kvartal 2</c:v>
                </c:pt>
                <c:pt idx="41">
                  <c:v>2011 Kvartal 3</c:v>
                </c:pt>
                <c:pt idx="42">
                  <c:v>2011 Kvartal 4</c:v>
                </c:pt>
                <c:pt idx="43">
                  <c:v>2012 Kvartal 1</c:v>
                </c:pt>
                <c:pt idx="44">
                  <c:v>2012 Kvartal 2</c:v>
                </c:pt>
                <c:pt idx="45">
                  <c:v>2012 Kvartal 3</c:v>
                </c:pt>
                <c:pt idx="46">
                  <c:v>2012 Kvartal 4</c:v>
                </c:pt>
                <c:pt idx="47">
                  <c:v>2013 Kvartal 1</c:v>
                </c:pt>
                <c:pt idx="48">
                  <c:v>2013 Kvartal 2</c:v>
                </c:pt>
                <c:pt idx="49">
                  <c:v>2013 Kvartal 3</c:v>
                </c:pt>
                <c:pt idx="50">
                  <c:v>2013 Kvartal 4</c:v>
                </c:pt>
                <c:pt idx="51">
                  <c:v>2014 Kvartal 1</c:v>
                </c:pt>
                <c:pt idx="52">
                  <c:v>2014 Kvartal 2</c:v>
                </c:pt>
                <c:pt idx="53">
                  <c:v>2014 Kvartal 3</c:v>
                </c:pt>
                <c:pt idx="54">
                  <c:v>2014 Kvartal 4</c:v>
                </c:pt>
                <c:pt idx="55">
                  <c:v>2015 Kvartal 1</c:v>
                </c:pt>
                <c:pt idx="56">
                  <c:v>2015 Kvartal 2</c:v>
                </c:pt>
                <c:pt idx="57">
                  <c:v>2015 Kvartal 3</c:v>
                </c:pt>
                <c:pt idx="58">
                  <c:v>2015 Kvartal 4</c:v>
                </c:pt>
                <c:pt idx="59">
                  <c:v>2016 Kvartal 1</c:v>
                </c:pt>
                <c:pt idx="60">
                  <c:v>2016 Kvartal 2</c:v>
                </c:pt>
                <c:pt idx="61">
                  <c:v>2016 Kvartal 3</c:v>
                </c:pt>
                <c:pt idx="62">
                  <c:v>2016 Kvartal 4</c:v>
                </c:pt>
                <c:pt idx="63">
                  <c:v>2017 Kvartal 1</c:v>
                </c:pt>
                <c:pt idx="64">
                  <c:v>2017 Kvartal 2</c:v>
                </c:pt>
                <c:pt idx="65">
                  <c:v>2017 Kvartal 3</c:v>
                </c:pt>
                <c:pt idx="66">
                  <c:v>2017 Kvartal 4</c:v>
                </c:pt>
                <c:pt idx="67">
                  <c:v>2018 Kvartal 1</c:v>
                </c:pt>
                <c:pt idx="68">
                  <c:v>2018 Kvartal 2</c:v>
                </c:pt>
                <c:pt idx="69">
                  <c:v>2018 Kvartal 3</c:v>
                </c:pt>
                <c:pt idx="70">
                  <c:v>2018 Kvartal 4</c:v>
                </c:pt>
                <c:pt idx="71">
                  <c:v>2019 Kvartal 1</c:v>
                </c:pt>
                <c:pt idx="72">
                  <c:v>2019 Kvartal 2</c:v>
                </c:pt>
                <c:pt idx="73">
                  <c:v>2019 Kvartal 3</c:v>
                </c:pt>
                <c:pt idx="74">
                  <c:v>2019 Kvartal 4</c:v>
                </c:pt>
                <c:pt idx="75">
                  <c:v>2020 Kvartal 1</c:v>
                </c:pt>
                <c:pt idx="76">
                  <c:v>2020 Kvartal 2</c:v>
                </c:pt>
                <c:pt idx="77">
                  <c:v>2020 Kvartal 3</c:v>
                </c:pt>
                <c:pt idx="78">
                  <c:v>2020 Kvartal 4</c:v>
                </c:pt>
                <c:pt idx="79">
                  <c:v>2021 Kvartal 1</c:v>
                </c:pt>
                <c:pt idx="80">
                  <c:v>2021 Kvartal 2</c:v>
                </c:pt>
              </c:strCache>
            </c:strRef>
          </c:cat>
          <c:val>
            <c:numRef>
              <c:f>'Företagens lönesumma'!$J$10:$J$90</c:f>
              <c:numCache>
                <c:formatCode>0.0%</c:formatCode>
                <c:ptCount val="81"/>
                <c:pt idx="0">
                  <c:v>3.8596218435128754E-2</c:v>
                </c:pt>
                <c:pt idx="1">
                  <c:v>3.1718299353555378E-2</c:v>
                </c:pt>
                <c:pt idx="2">
                  <c:v>8.3996038623421788E-3</c:v>
                </c:pt>
                <c:pt idx="3">
                  <c:v>1.4354904337189025E-2</c:v>
                </c:pt>
                <c:pt idx="4">
                  <c:v>1.1803999501685244E-2</c:v>
                </c:pt>
                <c:pt idx="5">
                  <c:v>5.4574026695187088E-3</c:v>
                </c:pt>
                <c:pt idx="6">
                  <c:v>1.0372853940852408E-2</c:v>
                </c:pt>
                <c:pt idx="7">
                  <c:v>-8.4356828133435608E-3</c:v>
                </c:pt>
                <c:pt idx="8">
                  <c:v>-6.7234794927630136E-3</c:v>
                </c:pt>
                <c:pt idx="9">
                  <c:v>1.1218784058130205E-3</c:v>
                </c:pt>
                <c:pt idx="10">
                  <c:v>-3.6057536154284666E-3</c:v>
                </c:pt>
                <c:pt idx="11">
                  <c:v>1.7370788509381323E-2</c:v>
                </c:pt>
                <c:pt idx="12">
                  <c:v>1.5170409126393784E-2</c:v>
                </c:pt>
                <c:pt idx="13">
                  <c:v>1.4116554368276395E-2</c:v>
                </c:pt>
                <c:pt idx="14">
                  <c:v>3.1015082013510872E-2</c:v>
                </c:pt>
                <c:pt idx="15">
                  <c:v>3.3735091577050381E-2</c:v>
                </c:pt>
                <c:pt idx="16">
                  <c:v>4.5858177253903495E-2</c:v>
                </c:pt>
                <c:pt idx="17">
                  <c:v>4.2619741595759986E-2</c:v>
                </c:pt>
                <c:pt idx="18">
                  <c:v>4.5197451470871751E-2</c:v>
                </c:pt>
                <c:pt idx="19">
                  <c:v>4.8828096615774932E-2</c:v>
                </c:pt>
                <c:pt idx="20">
                  <c:v>3.7208236465757973E-2</c:v>
                </c:pt>
                <c:pt idx="21">
                  <c:v>3.9651722250401276E-2</c:v>
                </c:pt>
                <c:pt idx="22">
                  <c:v>5.1363143379937352E-2</c:v>
                </c:pt>
                <c:pt idx="23">
                  <c:v>6.3318685356670235E-2</c:v>
                </c:pt>
                <c:pt idx="24">
                  <c:v>5.7575273972559238E-2</c:v>
                </c:pt>
                <c:pt idx="25">
                  <c:v>6.3210640365447865E-2</c:v>
                </c:pt>
                <c:pt idx="26">
                  <c:v>5.4529733734425517E-2</c:v>
                </c:pt>
                <c:pt idx="27">
                  <c:v>4.6231554099305683E-2</c:v>
                </c:pt>
                <c:pt idx="28">
                  <c:v>4.3675885839191728E-2</c:v>
                </c:pt>
                <c:pt idx="29">
                  <c:v>2.0891775062429983E-2</c:v>
                </c:pt>
                <c:pt idx="30">
                  <c:v>7.7628127869256705E-3</c:v>
                </c:pt>
                <c:pt idx="31">
                  <c:v>4.6204295273973763E-3</c:v>
                </c:pt>
                <c:pt idx="32">
                  <c:v>-8.8762057245686705E-3</c:v>
                </c:pt>
                <c:pt idx="33">
                  <c:v>-9.5152362779028592E-4</c:v>
                </c:pt>
                <c:pt idx="34">
                  <c:v>-6.2392517651635119E-3</c:v>
                </c:pt>
                <c:pt idx="35">
                  <c:v>-7.209559784453836E-3</c:v>
                </c:pt>
                <c:pt idx="36">
                  <c:v>2.0020002259596402E-2</c:v>
                </c:pt>
                <c:pt idx="37">
                  <c:v>3.2061283330164933E-2</c:v>
                </c:pt>
                <c:pt idx="38">
                  <c:v>4.4462443452342931E-2</c:v>
                </c:pt>
                <c:pt idx="39">
                  <c:v>4.5756204383370781E-2</c:v>
                </c:pt>
                <c:pt idx="40">
                  <c:v>4.1632569875757419E-2</c:v>
                </c:pt>
                <c:pt idx="41">
                  <c:v>3.9858736907107326E-2</c:v>
                </c:pt>
                <c:pt idx="42">
                  <c:v>3.0708178474461698E-2</c:v>
                </c:pt>
                <c:pt idx="43">
                  <c:v>2.4756223534494717E-2</c:v>
                </c:pt>
                <c:pt idx="44">
                  <c:v>3.2347184171587176E-2</c:v>
                </c:pt>
                <c:pt idx="45">
                  <c:v>3.0511187355148316E-2</c:v>
                </c:pt>
                <c:pt idx="46">
                  <c:v>3.2141932877467465E-2</c:v>
                </c:pt>
                <c:pt idx="47">
                  <c:v>2.5866880158840901E-2</c:v>
                </c:pt>
                <c:pt idx="48">
                  <c:v>2.0462744612452729E-2</c:v>
                </c:pt>
                <c:pt idx="49">
                  <c:v>2.2063406181286254E-2</c:v>
                </c:pt>
                <c:pt idx="50">
                  <c:v>2.9103618687766411E-2</c:v>
                </c:pt>
                <c:pt idx="51">
                  <c:v>3.4673447949922914E-2</c:v>
                </c:pt>
                <c:pt idx="52">
                  <c:v>3.7590308337015488E-2</c:v>
                </c:pt>
                <c:pt idx="53">
                  <c:v>3.5839602990530683E-2</c:v>
                </c:pt>
                <c:pt idx="54">
                  <c:v>3.0225755403766482E-2</c:v>
                </c:pt>
                <c:pt idx="55">
                  <c:v>4.3440116144691829E-2</c:v>
                </c:pt>
                <c:pt idx="56">
                  <c:v>4.8496940950271961E-2</c:v>
                </c:pt>
                <c:pt idx="57">
                  <c:v>4.4384603430877009E-2</c:v>
                </c:pt>
                <c:pt idx="58">
                  <c:v>5.1694096051111069E-2</c:v>
                </c:pt>
                <c:pt idx="59">
                  <c:v>4.5556358040160443E-2</c:v>
                </c:pt>
                <c:pt idx="60">
                  <c:v>3.002893659461682E-2</c:v>
                </c:pt>
                <c:pt idx="61">
                  <c:v>3.4397603518448144E-2</c:v>
                </c:pt>
                <c:pt idx="62">
                  <c:v>3.7285020541866068E-2</c:v>
                </c:pt>
                <c:pt idx="63">
                  <c:v>2.6837408854820239E-2</c:v>
                </c:pt>
                <c:pt idx="64">
                  <c:v>3.2025080144007692E-2</c:v>
                </c:pt>
                <c:pt idx="65">
                  <c:v>2.7360429464781465E-2</c:v>
                </c:pt>
                <c:pt idx="66">
                  <c:v>3.0457924819161382E-2</c:v>
                </c:pt>
                <c:pt idx="67">
                  <c:v>3.4050057783319057E-2</c:v>
                </c:pt>
                <c:pt idx="68">
                  <c:v>4.1749332672882791E-2</c:v>
                </c:pt>
                <c:pt idx="69">
                  <c:v>2.9305728104613713E-2</c:v>
                </c:pt>
                <c:pt idx="70">
                  <c:v>2.2105319270318856E-2</c:v>
                </c:pt>
                <c:pt idx="71">
                  <c:v>2.551949394225261E-2</c:v>
                </c:pt>
                <c:pt idx="72">
                  <c:v>1.5239636081273654E-2</c:v>
                </c:pt>
                <c:pt idx="73">
                  <c:v>2.1162526057065048E-2</c:v>
                </c:pt>
                <c:pt idx="74">
                  <c:v>1.4847455602064422E-2</c:v>
                </c:pt>
                <c:pt idx="75">
                  <c:v>3.2338825965905316E-2</c:v>
                </c:pt>
                <c:pt idx="76">
                  <c:v>-9.3511882168182073E-3</c:v>
                </c:pt>
                <c:pt idx="77">
                  <c:v>-1.4519083343485516E-2</c:v>
                </c:pt>
                <c:pt idx="78">
                  <c:v>-3.0200278183416169E-3</c:v>
                </c:pt>
                <c:pt idx="79">
                  <c:v>7.2825965593840032E-3</c:v>
                </c:pt>
                <c:pt idx="80">
                  <c:v>5.352646347095312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5AE-44D1-B62E-20671278C8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4169856"/>
        <c:axId val="104171392"/>
      </c:lineChart>
      <c:catAx>
        <c:axId val="104169856"/>
        <c:scaling>
          <c:orientation val="minMax"/>
        </c:scaling>
        <c:delete val="0"/>
        <c:axPos val="b"/>
        <c:numFmt formatCode="General" sourceLinked="0"/>
        <c:majorTickMark val="in"/>
        <c:minorTickMark val="none"/>
        <c:tickLblPos val="low"/>
        <c:spPr>
          <a:ln w="6350">
            <a:solidFill>
              <a:schemeClr val="tx1"/>
            </a:solidFill>
          </a:ln>
        </c:spPr>
        <c:txPr>
          <a:bodyPr rot="5400000" vert="horz"/>
          <a:lstStyle/>
          <a:p>
            <a:pPr>
              <a:defRPr/>
            </a:pPr>
            <a:endParaRPr lang="sv-SE"/>
          </a:p>
        </c:txPr>
        <c:crossAx val="104171392"/>
        <c:crosses val="autoZero"/>
        <c:auto val="1"/>
        <c:lblAlgn val="ctr"/>
        <c:lblOffset val="100"/>
        <c:tickLblSkip val="4"/>
        <c:tickMarkSkip val="1"/>
        <c:noMultiLvlLbl val="0"/>
      </c:catAx>
      <c:valAx>
        <c:axId val="104171392"/>
        <c:scaling>
          <c:orientation val="minMax"/>
        </c:scaling>
        <c:delete val="0"/>
        <c:axPos val="l"/>
        <c:numFmt formatCode="0%" sourceLinked="0"/>
        <c:majorTickMark val="in"/>
        <c:minorTickMark val="none"/>
        <c:tickLblPos val="nextTo"/>
        <c:spPr>
          <a:ln w="6350">
            <a:solidFill>
              <a:schemeClr val="tx1"/>
            </a:solidFill>
          </a:ln>
        </c:spPr>
        <c:crossAx val="104169856"/>
        <c:crosses val="autoZero"/>
        <c:crossBetween val="between"/>
      </c:val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0.53754961390925504"/>
          <c:y val="0.58984796082380087"/>
          <c:w val="0.17010765831860872"/>
          <c:h val="0.1515488888888889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726485548556311E-2"/>
          <c:y val="3.4954799870495545E-2"/>
          <c:w val="0.89946102876228262"/>
          <c:h val="0.84107646988923845"/>
        </c:manualLayout>
      </c:layout>
      <c:barChart>
        <c:barDir val="col"/>
        <c:grouping val="stacked"/>
        <c:varyColors val="0"/>
        <c:ser>
          <c:idx val="0"/>
          <c:order val="0"/>
          <c:tx>
            <c:v>  Kvartal 1</c:v>
          </c:tx>
          <c:spPr>
            <a:solidFill>
              <a:schemeClr val="tx2"/>
            </a:solidFill>
          </c:spPr>
          <c:invertIfNegative val="0"/>
          <c:cat>
            <c:numRef>
              <c:f>Figurer!$C$3:$W$3</c:f>
              <c:numCache>
                <c:formatCode>General</c:formatCode>
                <c:ptCount val="21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</c:numCache>
            </c:numRef>
          </c:cat>
          <c:val>
            <c:numRef>
              <c:f>Figurer!$C$5:$W$5</c:f>
              <c:numCache>
                <c:formatCode>#,##0</c:formatCode>
                <c:ptCount val="21"/>
                <c:pt idx="0">
                  <c:v>1255</c:v>
                </c:pt>
                <c:pt idx="1">
                  <c:v>1428</c:v>
                </c:pt>
                <c:pt idx="2">
                  <c:v>1404</c:v>
                </c:pt>
                <c:pt idx="3">
                  <c:v>1697</c:v>
                </c:pt>
                <c:pt idx="4">
                  <c:v>604</c:v>
                </c:pt>
                <c:pt idx="5">
                  <c:v>2981</c:v>
                </c:pt>
                <c:pt idx="6">
                  <c:v>1524</c:v>
                </c:pt>
                <c:pt idx="7">
                  <c:v>2035</c:v>
                </c:pt>
                <c:pt idx="8">
                  <c:v>1918</c:v>
                </c:pt>
                <c:pt idx="9">
                  <c:v>2299</c:v>
                </c:pt>
                <c:pt idx="10">
                  <c:v>2006</c:v>
                </c:pt>
                <c:pt idx="11">
                  <c:v>1557</c:v>
                </c:pt>
                <c:pt idx="12">
                  <c:v>2237</c:v>
                </c:pt>
                <c:pt idx="13">
                  <c:v>2755</c:v>
                </c:pt>
                <c:pt idx="14">
                  <c:v>2349</c:v>
                </c:pt>
                <c:pt idx="15">
                  <c:v>2401</c:v>
                </c:pt>
                <c:pt idx="16">
                  <c:v>3586</c:v>
                </c:pt>
                <c:pt idx="17">
                  <c:v>3405</c:v>
                </c:pt>
                <c:pt idx="18">
                  <c:v>3369</c:v>
                </c:pt>
                <c:pt idx="19">
                  <c:v>2574</c:v>
                </c:pt>
                <c:pt idx="20">
                  <c:v>16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80-4520-9AAF-D7D8E1F4F2E3}"/>
            </c:ext>
          </c:extLst>
        </c:ser>
        <c:ser>
          <c:idx val="1"/>
          <c:order val="1"/>
          <c:tx>
            <c:v>  Kvartal 2</c:v>
          </c:tx>
          <c:spPr>
            <a:solidFill>
              <a:schemeClr val="accent4"/>
            </a:solidFill>
          </c:spPr>
          <c:invertIfNegative val="0"/>
          <c:cat>
            <c:numRef>
              <c:f>Figurer!$C$3:$W$3</c:f>
              <c:numCache>
                <c:formatCode>General</c:formatCode>
                <c:ptCount val="21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</c:numCache>
            </c:numRef>
          </c:cat>
          <c:val>
            <c:numRef>
              <c:f>Figurer!$C$6:$W$6</c:f>
              <c:numCache>
                <c:formatCode>#,##0</c:formatCode>
                <c:ptCount val="21"/>
                <c:pt idx="0">
                  <c:v>1788</c:v>
                </c:pt>
                <c:pt idx="1">
                  <c:v>1457</c:v>
                </c:pt>
                <c:pt idx="2">
                  <c:v>1307</c:v>
                </c:pt>
                <c:pt idx="3">
                  <c:v>1450</c:v>
                </c:pt>
                <c:pt idx="4">
                  <c:v>1846</c:v>
                </c:pt>
                <c:pt idx="5">
                  <c:v>2122</c:v>
                </c:pt>
                <c:pt idx="6">
                  <c:v>1833</c:v>
                </c:pt>
                <c:pt idx="7">
                  <c:v>2130</c:v>
                </c:pt>
                <c:pt idx="8">
                  <c:v>2797</c:v>
                </c:pt>
                <c:pt idx="9">
                  <c:v>2655</c:v>
                </c:pt>
                <c:pt idx="10">
                  <c:v>2925</c:v>
                </c:pt>
                <c:pt idx="11">
                  <c:v>2199</c:v>
                </c:pt>
                <c:pt idx="12">
                  <c:v>2524</c:v>
                </c:pt>
                <c:pt idx="13">
                  <c:v>3544</c:v>
                </c:pt>
                <c:pt idx="14">
                  <c:v>2882</c:v>
                </c:pt>
                <c:pt idx="15">
                  <c:v>3594</c:v>
                </c:pt>
                <c:pt idx="16">
                  <c:v>3446</c:v>
                </c:pt>
                <c:pt idx="17">
                  <c:v>4439</c:v>
                </c:pt>
                <c:pt idx="18">
                  <c:v>3701</c:v>
                </c:pt>
                <c:pt idx="19">
                  <c:v>1136</c:v>
                </c:pt>
                <c:pt idx="20">
                  <c:v>1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80-4520-9AAF-D7D8E1F4F2E3}"/>
            </c:ext>
          </c:extLst>
        </c:ser>
        <c:ser>
          <c:idx val="2"/>
          <c:order val="2"/>
          <c:tx>
            <c:v>  Kvartal 3</c:v>
          </c:tx>
          <c:spPr>
            <a:solidFill>
              <a:srgbClr val="7DB094"/>
            </a:solidFill>
          </c:spPr>
          <c:invertIfNegative val="0"/>
          <c:cat>
            <c:numRef>
              <c:f>Figurer!$C$3:$W$3</c:f>
              <c:numCache>
                <c:formatCode>General</c:formatCode>
                <c:ptCount val="21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</c:numCache>
            </c:numRef>
          </c:cat>
          <c:val>
            <c:numRef>
              <c:f>Figurer!$C$7:$W$7</c:f>
              <c:numCache>
                <c:formatCode>#,##0</c:formatCode>
                <c:ptCount val="21"/>
                <c:pt idx="0">
                  <c:v>3055</c:v>
                </c:pt>
                <c:pt idx="1">
                  <c:v>2675</c:v>
                </c:pt>
                <c:pt idx="2">
                  <c:v>3056</c:v>
                </c:pt>
                <c:pt idx="3">
                  <c:v>2583</c:v>
                </c:pt>
                <c:pt idx="4">
                  <c:v>3099</c:v>
                </c:pt>
                <c:pt idx="5">
                  <c:v>2742</c:v>
                </c:pt>
                <c:pt idx="6">
                  <c:v>3165</c:v>
                </c:pt>
                <c:pt idx="7">
                  <c:v>4298</c:v>
                </c:pt>
                <c:pt idx="8">
                  <c:v>4576</c:v>
                </c:pt>
                <c:pt idx="9">
                  <c:v>3716</c:v>
                </c:pt>
                <c:pt idx="10">
                  <c:v>3455</c:v>
                </c:pt>
                <c:pt idx="11">
                  <c:v>3377</c:v>
                </c:pt>
                <c:pt idx="12">
                  <c:v>3782</c:v>
                </c:pt>
                <c:pt idx="13">
                  <c:v>4670</c:v>
                </c:pt>
                <c:pt idx="14">
                  <c:v>3675</c:v>
                </c:pt>
                <c:pt idx="15">
                  <c:v>5098</c:v>
                </c:pt>
                <c:pt idx="16">
                  <c:v>4725</c:v>
                </c:pt>
                <c:pt idx="17">
                  <c:v>4942</c:v>
                </c:pt>
                <c:pt idx="18">
                  <c:v>4193</c:v>
                </c:pt>
                <c:pt idx="19">
                  <c:v>28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80-4520-9AAF-D7D8E1F4F2E3}"/>
            </c:ext>
          </c:extLst>
        </c:ser>
        <c:ser>
          <c:idx val="3"/>
          <c:order val="3"/>
          <c:tx>
            <c:v>  Kvartal 4</c:v>
          </c:tx>
          <c:spPr>
            <a:solidFill>
              <a:srgbClr val="D36248"/>
            </a:solidFill>
          </c:spPr>
          <c:invertIfNegative val="0"/>
          <c:cat>
            <c:numRef>
              <c:f>Figurer!$C$3:$W$3</c:f>
              <c:numCache>
                <c:formatCode>General</c:formatCode>
                <c:ptCount val="21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</c:numCache>
            </c:numRef>
          </c:cat>
          <c:val>
            <c:numRef>
              <c:f>Figurer!$C$8:$W$8</c:f>
              <c:numCache>
                <c:formatCode>#,##0</c:formatCode>
                <c:ptCount val="21"/>
                <c:pt idx="0">
                  <c:v>1210</c:v>
                </c:pt>
                <c:pt idx="1">
                  <c:v>1039</c:v>
                </c:pt>
                <c:pt idx="2">
                  <c:v>968</c:v>
                </c:pt>
                <c:pt idx="3">
                  <c:v>981</c:v>
                </c:pt>
                <c:pt idx="4">
                  <c:v>1594</c:v>
                </c:pt>
                <c:pt idx="5">
                  <c:v>1086</c:v>
                </c:pt>
                <c:pt idx="6">
                  <c:v>1406</c:v>
                </c:pt>
                <c:pt idx="7">
                  <c:v>2071</c:v>
                </c:pt>
                <c:pt idx="8">
                  <c:v>2002</c:v>
                </c:pt>
                <c:pt idx="9">
                  <c:v>1975</c:v>
                </c:pt>
                <c:pt idx="10">
                  <c:v>1565</c:v>
                </c:pt>
                <c:pt idx="11">
                  <c:v>1862</c:v>
                </c:pt>
                <c:pt idx="12">
                  <c:v>1906</c:v>
                </c:pt>
                <c:pt idx="13">
                  <c:v>1919</c:v>
                </c:pt>
                <c:pt idx="14">
                  <c:v>2542</c:v>
                </c:pt>
                <c:pt idx="15">
                  <c:v>3993</c:v>
                </c:pt>
                <c:pt idx="16">
                  <c:v>3366</c:v>
                </c:pt>
                <c:pt idx="17">
                  <c:v>2893</c:v>
                </c:pt>
                <c:pt idx="18">
                  <c:v>2339</c:v>
                </c:pt>
                <c:pt idx="19">
                  <c:v>1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580-4520-9AAF-D7D8E1F4F2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3537536"/>
        <c:axId val="59586048"/>
      </c:barChart>
      <c:catAx>
        <c:axId val="43537536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5400000" vert="horz"/>
          <a:lstStyle/>
          <a:p>
            <a:pPr>
              <a:defRPr/>
            </a:pPr>
            <a:endParaRPr lang="sv-SE"/>
          </a:p>
        </c:txPr>
        <c:crossAx val="59586048"/>
        <c:crosses val="autoZero"/>
        <c:auto val="1"/>
        <c:lblAlgn val="ctr"/>
        <c:lblOffset val="100"/>
        <c:noMultiLvlLbl val="0"/>
      </c:catAx>
      <c:valAx>
        <c:axId val="59586048"/>
        <c:scaling>
          <c:orientation val="minMax"/>
          <c:max val="20000"/>
        </c:scaling>
        <c:delete val="0"/>
        <c:axPos val="l"/>
        <c:numFmt formatCode="#,##0" sourceLinked="0"/>
        <c:majorTickMark val="in"/>
        <c:minorTickMark val="none"/>
        <c:tickLblPos val="nextTo"/>
        <c:spPr>
          <a:ln>
            <a:solidFill>
              <a:schemeClr val="tx1"/>
            </a:solidFill>
          </a:ln>
        </c:spPr>
        <c:crossAx val="43537536"/>
        <c:crosses val="autoZero"/>
        <c:crossBetween val="between"/>
        <c:majorUnit val="500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14243148177906328"/>
          <c:y val="4.4963658778428395E-2"/>
          <c:w val="8.7866786207749403E-2"/>
          <c:h val="0.27439536826488625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629</cdr:x>
      <cdr:y>0.5</cdr:y>
    </cdr:from>
    <cdr:to>
      <cdr:x>0.28048</cdr:x>
      <cdr:y>0.60677</cdr:y>
    </cdr:to>
    <cdr:sp macro="" textlink="">
      <cdr:nvSpPr>
        <cdr:cNvPr id="2" name="textruta 1">
          <a:extLst xmlns:a="http://schemas.openxmlformats.org/drawingml/2006/main">
            <a:ext uri="{FF2B5EF4-FFF2-40B4-BE49-F238E27FC236}">
              <a16:creationId xmlns:a16="http://schemas.microsoft.com/office/drawing/2014/main" id="{3FF8C738-9F98-4BB1-B4F7-AC2F85FD7ED9}"/>
            </a:ext>
          </a:extLst>
        </cdr:cNvPr>
        <cdr:cNvSpPr txBox="1"/>
      </cdr:nvSpPr>
      <cdr:spPr>
        <a:xfrm xmlns:a="http://schemas.openxmlformats.org/drawingml/2006/main">
          <a:off x="837995" y="1998662"/>
          <a:ext cx="1373314" cy="4267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sv-SE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skris</a:t>
          </a:r>
        </a:p>
      </cdr:txBody>
    </cdr:sp>
  </cdr:relSizeAnchor>
  <cdr:relSizeAnchor xmlns:cdr="http://schemas.openxmlformats.org/drawingml/2006/chartDrawing">
    <cdr:from>
      <cdr:x>0.56722</cdr:x>
      <cdr:y>0.01843</cdr:y>
    </cdr:from>
    <cdr:to>
      <cdr:x>0.79257</cdr:x>
      <cdr:y>0.11169</cdr:y>
    </cdr:to>
    <cdr:sp macro="" textlink="">
      <cdr:nvSpPr>
        <cdr:cNvPr id="8" name="textruta 1">
          <a:extLst xmlns:a="http://schemas.openxmlformats.org/drawingml/2006/main">
            <a:ext uri="{FF2B5EF4-FFF2-40B4-BE49-F238E27FC236}">
              <a16:creationId xmlns:a16="http://schemas.microsoft.com/office/drawing/2014/main" id="{2B0D9AA5-99BB-440C-AC8E-A76140C13146}"/>
            </a:ext>
          </a:extLst>
        </cdr:cNvPr>
        <cdr:cNvSpPr txBox="1"/>
      </cdr:nvSpPr>
      <cdr:spPr>
        <a:xfrm xmlns:a="http://schemas.openxmlformats.org/drawingml/2006/main">
          <a:off x="4471958" y="73687"/>
          <a:ext cx="1776659" cy="3727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ögkonjunktur</a:t>
          </a:r>
          <a:endParaRPr lang="sv-SE" sz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2683</cdr:x>
      <cdr:y>0</cdr:y>
    </cdr:from>
    <cdr:to>
      <cdr:x>0.43204</cdr:x>
      <cdr:y>0.09326</cdr:y>
    </cdr:to>
    <cdr:sp macro="" textlink="">
      <cdr:nvSpPr>
        <cdr:cNvPr id="9" name="textruta 1">
          <a:extLst xmlns:a="http://schemas.openxmlformats.org/drawingml/2006/main">
            <a:ext uri="{FF2B5EF4-FFF2-40B4-BE49-F238E27FC236}">
              <a16:creationId xmlns:a16="http://schemas.microsoft.com/office/drawing/2014/main" id="{EC9816BA-3D8A-488D-AAD3-D8D52F7DB9C0}"/>
            </a:ext>
          </a:extLst>
        </cdr:cNvPr>
        <cdr:cNvSpPr txBox="1"/>
      </cdr:nvSpPr>
      <cdr:spPr>
        <a:xfrm xmlns:a="http://schemas.openxmlformats.org/drawingml/2006/main">
          <a:off x="749280" y="0"/>
          <a:ext cx="677860" cy="1913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ögkonjunktur</a:t>
          </a:r>
          <a:endParaRPr lang="sv-SE" sz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6053</cdr:x>
      <cdr:y>0.49636</cdr:y>
    </cdr:from>
    <cdr:to>
      <cdr:x>0.9115</cdr:x>
      <cdr:y>0.58962</cdr:y>
    </cdr:to>
    <cdr:sp macro="" textlink="">
      <cdr:nvSpPr>
        <cdr:cNvPr id="10" name="textruta 1">
          <a:extLst xmlns:a="http://schemas.openxmlformats.org/drawingml/2006/main">
            <a:ext uri="{FF2B5EF4-FFF2-40B4-BE49-F238E27FC236}">
              <a16:creationId xmlns:a16="http://schemas.microsoft.com/office/drawing/2014/main" id="{EC9816BA-3D8A-488D-AAD3-D8D52F7DB9C0}"/>
            </a:ext>
          </a:extLst>
        </cdr:cNvPr>
        <cdr:cNvSpPr txBox="1"/>
      </cdr:nvSpPr>
      <cdr:spPr>
        <a:xfrm xmlns:a="http://schemas.openxmlformats.org/drawingml/2006/main">
          <a:off x="5996029" y="1984106"/>
          <a:ext cx="1190247" cy="37279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vid-19 pandemi</a:t>
          </a:r>
          <a:endParaRPr lang="sv-SE" sz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5324</cdr:x>
      <cdr:y>0.14113</cdr:y>
    </cdr:from>
    <cdr:to>
      <cdr:x>0.97845</cdr:x>
      <cdr:y>0.22557</cdr:y>
    </cdr:to>
    <cdr:sp macro="" textlink="">
      <cdr:nvSpPr>
        <cdr:cNvPr id="2" name="textruta 1">
          <a:extLst xmlns:a="http://schemas.openxmlformats.org/drawingml/2006/main">
            <a:ext uri="{FF2B5EF4-FFF2-40B4-BE49-F238E27FC236}">
              <a16:creationId xmlns:a16="http://schemas.microsoft.com/office/drawing/2014/main" id="{69A51E50-6246-4B6C-8DE4-2228D2B1F744}"/>
            </a:ext>
          </a:extLst>
        </cdr:cNvPr>
        <cdr:cNvSpPr txBox="1"/>
      </cdr:nvSpPr>
      <cdr:spPr>
        <a:xfrm xmlns:a="http://schemas.openxmlformats.org/drawingml/2006/main">
          <a:off x="559642" y="564142"/>
          <a:ext cx="9726240" cy="3375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sv-SE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Växande</a:t>
          </a:r>
          <a:r>
            <a:rPr lang="sv-SE" sz="1200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s</a:t>
          </a:r>
          <a:r>
            <a:rPr lang="sv-SE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ysselsättning</a:t>
          </a:r>
        </a:p>
      </cdr:txBody>
    </cdr:sp>
  </cdr:relSizeAnchor>
  <cdr:relSizeAnchor xmlns:cdr="http://schemas.openxmlformats.org/drawingml/2006/chartDrawing">
    <cdr:from>
      <cdr:x>0.05172</cdr:x>
      <cdr:y>0.58786</cdr:y>
    </cdr:from>
    <cdr:to>
      <cdr:x>0.97845</cdr:x>
      <cdr:y>0.68154</cdr:y>
    </cdr:to>
    <cdr:sp macro="" textlink="">
      <cdr:nvSpPr>
        <cdr:cNvPr id="3" name="textruta 1">
          <a:extLst xmlns:a="http://schemas.openxmlformats.org/drawingml/2006/main">
            <a:ext uri="{FF2B5EF4-FFF2-40B4-BE49-F238E27FC236}">
              <a16:creationId xmlns:a16="http://schemas.microsoft.com/office/drawing/2014/main" id="{42359531-9521-4213-983A-E401E89A4E9E}"/>
            </a:ext>
          </a:extLst>
        </cdr:cNvPr>
        <cdr:cNvSpPr txBox="1"/>
      </cdr:nvSpPr>
      <cdr:spPr>
        <a:xfrm xmlns:a="http://schemas.openxmlformats.org/drawingml/2006/main">
          <a:off x="543739" y="2349867"/>
          <a:ext cx="9742143" cy="3744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Krympande sysselsättning</a:t>
          </a:r>
        </a:p>
      </cdr:txBody>
    </cdr:sp>
  </cdr:relSizeAnchor>
  <cdr:relSizeAnchor xmlns:cdr="http://schemas.openxmlformats.org/drawingml/2006/chartDrawing">
    <cdr:from>
      <cdr:x>0.74645</cdr:x>
      <cdr:y>0.41215</cdr:y>
    </cdr:from>
    <cdr:to>
      <cdr:x>0.75991</cdr:x>
      <cdr:y>0.4731</cdr:y>
    </cdr:to>
    <cdr:cxnSp macro="">
      <cdr:nvCxnSpPr>
        <cdr:cNvPr id="7" name="Rak koppling 6">
          <a:extLst xmlns:a="http://schemas.openxmlformats.org/drawingml/2006/main">
            <a:ext uri="{FF2B5EF4-FFF2-40B4-BE49-F238E27FC236}">
              <a16:creationId xmlns:a16="http://schemas.microsoft.com/office/drawing/2014/main" id="{74F71F7B-BA0C-458C-870B-9CFF430A6FFB}"/>
            </a:ext>
          </a:extLst>
        </cdr:cNvPr>
        <cdr:cNvCxnSpPr/>
      </cdr:nvCxnSpPr>
      <cdr:spPr>
        <a:xfrm xmlns:a="http://schemas.openxmlformats.org/drawingml/2006/main">
          <a:off x="7847012" y="1647507"/>
          <a:ext cx="141520" cy="243647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5203</cdr:x>
      <cdr:y>0.47215</cdr:y>
    </cdr:from>
    <cdr:to>
      <cdr:x>0.86852</cdr:x>
      <cdr:y>0.60542</cdr:y>
    </cdr:to>
    <cdr:sp macro="" textlink="">
      <cdr:nvSpPr>
        <cdr:cNvPr id="8" name="textruta 1">
          <a:extLst xmlns:a="http://schemas.openxmlformats.org/drawingml/2006/main">
            <a:ext uri="{FF2B5EF4-FFF2-40B4-BE49-F238E27FC236}">
              <a16:creationId xmlns:a16="http://schemas.microsoft.com/office/drawing/2014/main" id="{D919296C-7725-45A1-B268-418D95E93E6B}"/>
            </a:ext>
          </a:extLst>
        </cdr:cNvPr>
        <cdr:cNvSpPr txBox="1"/>
      </cdr:nvSpPr>
      <cdr:spPr>
        <a:xfrm xmlns:a="http://schemas.openxmlformats.org/drawingml/2006/main">
          <a:off x="6854424" y="1887344"/>
          <a:ext cx="2275835" cy="5327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Oförändrad</a:t>
          </a:r>
          <a:r>
            <a:rPr lang="sv-SE" sz="1200" baseline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 sysselsättning</a:t>
          </a:r>
          <a:endParaRPr lang="sv-SE" sz="1200" dirty="0">
            <a:solidFill>
              <a:sysClr val="windowText" lastClr="0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8959</cdr:x>
      <cdr:y>0.66125</cdr:y>
    </cdr:from>
    <cdr:to>
      <cdr:x>0.42771</cdr:x>
      <cdr:y>0.76151</cdr:y>
    </cdr:to>
    <cdr:sp macro="" textlink="">
      <cdr:nvSpPr>
        <cdr:cNvPr id="2" name="textruta 3">
          <a:extLst xmlns:a="http://schemas.openxmlformats.org/drawingml/2006/main">
            <a:ext uri="{FF2B5EF4-FFF2-40B4-BE49-F238E27FC236}">
              <a16:creationId xmlns:a16="http://schemas.microsoft.com/office/drawing/2014/main" id="{71C496FE-CBF4-42A4-AB60-2D3E876EB9C7}"/>
            </a:ext>
          </a:extLst>
        </cdr:cNvPr>
        <cdr:cNvSpPr txBox="1"/>
      </cdr:nvSpPr>
      <cdr:spPr>
        <a:xfrm xmlns:a="http://schemas.openxmlformats.org/drawingml/2006/main">
          <a:off x="3044293" y="2643231"/>
          <a:ext cx="1451976" cy="40077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skris</a:t>
          </a:r>
        </a:p>
      </cdr:txBody>
    </cdr:sp>
  </cdr:relSizeAnchor>
  <cdr:relSizeAnchor xmlns:cdr="http://schemas.openxmlformats.org/drawingml/2006/chartDrawing">
    <cdr:from>
      <cdr:x>0.80734</cdr:x>
      <cdr:y>0.61331</cdr:y>
    </cdr:from>
    <cdr:to>
      <cdr:x>0.90333</cdr:x>
      <cdr:y>0.77696</cdr:y>
    </cdr:to>
    <cdr:sp macro="" textlink="">
      <cdr:nvSpPr>
        <cdr:cNvPr id="3" name="textruta 5">
          <a:extLst xmlns:a="http://schemas.openxmlformats.org/drawingml/2006/main">
            <a:ext uri="{FF2B5EF4-FFF2-40B4-BE49-F238E27FC236}">
              <a16:creationId xmlns:a16="http://schemas.microsoft.com/office/drawing/2014/main" id="{CDEE35B2-2917-4644-A1C7-7283424687EB}"/>
            </a:ext>
          </a:extLst>
        </cdr:cNvPr>
        <cdr:cNvSpPr txBox="1"/>
      </cdr:nvSpPr>
      <cdr:spPr>
        <a:xfrm xmlns:a="http://schemas.openxmlformats.org/drawingml/2006/main">
          <a:off x="8487091" y="2451582"/>
          <a:ext cx="1009049" cy="6541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vid-19</a:t>
          </a:r>
          <a:r>
            <a:rPr lang="sv-SE" sz="900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andemi</a:t>
          </a:r>
          <a:endParaRPr lang="sv-SE"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FF8C80-9372-42B5-AF25-94FE178DDC41}" type="datetimeFigureOut">
              <a:rPr lang="sv-SE" smtClean="0"/>
              <a:t>2021-09-1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4F99F6-FFA8-4452-AA94-1A50EE56E61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98130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F99F6-FFA8-4452-AA94-1A50EE56E61F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7014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F99F6-FFA8-4452-AA94-1A50EE56E61F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83027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 descr="En bild som visar himmel, utomhus, vatten&#10;&#10;Automatiskt genererad beskrivning">
            <a:extLst>
              <a:ext uri="{FF2B5EF4-FFF2-40B4-BE49-F238E27FC236}">
                <a16:creationId xmlns:a16="http://schemas.microsoft.com/office/drawing/2014/main" id="{3E4D31C9-97AB-40E6-A4E9-CA1C97757C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854"/>
            <a:ext cx="12192000" cy="6867853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7919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9583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43AAF0FB-5C31-4B7A-B3F0-735ECFED1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14F623A5-22C3-402C-9416-7106F1109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7287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67994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himmel, utomhus, bro, vatten&#10;&#10;Automatiskt genererad beskrivning">
            <a:extLst>
              <a:ext uri="{FF2B5EF4-FFF2-40B4-BE49-F238E27FC236}">
                <a16:creationId xmlns:a16="http://schemas.microsoft.com/office/drawing/2014/main" id="{CC5AACF2-0C11-44A9-8380-998FCF707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29"/>
          <a:stretch/>
        </p:blipFill>
        <p:spPr>
          <a:xfrm>
            <a:off x="5181600" y="0"/>
            <a:ext cx="70104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7360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061AA43-8B3E-4F3D-BF22-1A88805544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65" r="21473"/>
          <a:stretch/>
        </p:blipFill>
        <p:spPr>
          <a:xfrm>
            <a:off x="7239000" y="0"/>
            <a:ext cx="4953000" cy="6858000"/>
          </a:xfrm>
          <a:prstGeom prst="rect">
            <a:avLst/>
          </a:prstGeom>
        </p:spPr>
      </p:pic>
      <p:pic>
        <p:nvPicPr>
          <p:cNvPr id="5" name="Bildobjekt 4" descr="En bild som visar himmel, utomhus, vatten, båt&#10;&#10;Automatiskt genererad beskrivning">
            <a:extLst>
              <a:ext uri="{FF2B5EF4-FFF2-40B4-BE49-F238E27FC236}">
                <a16:creationId xmlns:a16="http://schemas.microsoft.com/office/drawing/2014/main" id="{974212FA-6582-48BE-90D5-94F1B701F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27"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91220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utomhus, himmel, scen&#10;&#10;Automatiskt genererad beskrivning">
            <a:extLst>
              <a:ext uri="{FF2B5EF4-FFF2-40B4-BE49-F238E27FC236}">
                <a16:creationId xmlns:a16="http://schemas.microsoft.com/office/drawing/2014/main" id="{16BCD11C-D973-4854-A344-6D550EA1D9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8" b="8910"/>
          <a:stretch/>
        </p:blipFill>
        <p:spPr>
          <a:xfrm>
            <a:off x="3048" y="0"/>
            <a:ext cx="12188952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 descr="Bildresultat fÃ¶r logo business region gÃ¶teborg">
            <a:extLst>
              <a:ext uri="{FF2B5EF4-FFF2-40B4-BE49-F238E27FC236}">
                <a16:creationId xmlns:a16="http://schemas.microsoft.com/office/drawing/2014/main" id="{97F78054-1A5F-49C5-9D0A-650A447FDA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 dirty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 dirty="0">
                <a:solidFill>
                  <a:schemeClr val="bg1"/>
                </a:solidFill>
              </a:rPr>
            </a:br>
            <a:r>
              <a:rPr lang="sv-SE" sz="1100" cap="all" baseline="0" dirty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954237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ildresultat fÃ¶r logo business region gÃ¶teborg">
            <a:extLst>
              <a:ext uri="{FF2B5EF4-FFF2-40B4-BE49-F238E27FC236}">
                <a16:creationId xmlns:a16="http://schemas.microsoft.com/office/drawing/2014/main" id="{72EEC8DB-6C4B-4BFC-9598-1332D11D2B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3309636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917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rgbClr val="8FB8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249A26DA-9AA1-4E87-8115-CF8413A69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26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BDD1F87-5733-4739-8F6C-0C15C678A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DF83555-6640-457A-A3EC-169EEFFCF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96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F242134-2D76-4DCB-88C7-19CDE0CE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262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 text vänst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534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9159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CAADFD81-8A4D-4B19-AB85-21FD9D7DBA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85626E8B-2171-41E8-8EDA-1BEF72CF26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426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6449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B315424-357B-4647-888E-3606002F18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405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287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7DB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2CCB681-7F37-424C-9893-04F3F63AA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880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81B07E8F-F509-4FA1-8C96-D504CBD40A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936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B6958F0-2A15-44E3-B238-6754FB35F1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EE7F9D6-9680-4FEE-BDE5-3645DFD6CF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68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9484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36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78AB7606-988D-42F0-A656-62DDF5F76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64156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214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16CDB862-2D7B-473E-BC6D-F8CFA5DF24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47600C6A-5AEB-42FC-9C76-61FCED2A1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12901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grön bakgrund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42CF58E-6A96-427D-B83E-8C1C7F34A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0346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6222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61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7901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8454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EAB3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97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61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77392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4298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38EE0AEC-80F2-495B-A4B7-E8970ECFE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61620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D4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94742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EAE1345A-7B66-4024-AC86-89BEC265F3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Rubrik 1">
            <a:extLst>
              <a:ext uri="{FF2B5EF4-FFF2-40B4-BE49-F238E27FC236}">
                <a16:creationId xmlns:a16="http://schemas.microsoft.com/office/drawing/2014/main" id="{60FBC1D3-6E1F-4CC8-BA73-3479F8903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1597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röd bakgrund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21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42CF58E-6A96-427D-B83E-8C1C7F34A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7974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06F418A7-6BF2-42AF-9489-F08EBD3AE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83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68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023358FC-B3BC-4DF1-8DBF-6E0CE8A7C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5740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0E0DD7C-63F4-4A96-9728-26D858125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6056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 1">
            <a:extLst>
              <a:ext uri="{FF2B5EF4-FFF2-40B4-BE49-F238E27FC236}">
                <a16:creationId xmlns:a16="http://schemas.microsoft.com/office/drawing/2014/main" id="{F041DA1A-C1EC-4B7A-8CEB-C7C3766F14FD}"/>
              </a:ext>
            </a:extLst>
          </p:cNvPr>
          <p:cNvGrpSpPr/>
          <p:nvPr userDrawn="1"/>
        </p:nvGrpSpPr>
        <p:grpSpPr>
          <a:xfrm>
            <a:off x="0" y="3429000"/>
            <a:ext cx="12192000" cy="3429000"/>
            <a:chOff x="0" y="3429000"/>
            <a:chExt cx="11147079" cy="3429000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F8C60DCD-261B-490D-B3A4-701A00466BCF}"/>
                </a:ext>
              </a:extLst>
            </p:cNvPr>
            <p:cNvSpPr/>
            <p:nvPr userDrawn="1"/>
          </p:nvSpPr>
          <p:spPr>
            <a:xfrm>
              <a:off x="0" y="3429000"/>
              <a:ext cx="3715693" cy="3429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0A853BC8-B293-4F35-A125-5F1572EBE207}"/>
                </a:ext>
              </a:extLst>
            </p:cNvPr>
            <p:cNvSpPr/>
            <p:nvPr userDrawn="1"/>
          </p:nvSpPr>
          <p:spPr>
            <a:xfrm>
              <a:off x="7431386" y="3429000"/>
              <a:ext cx="3715693" cy="3429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CB18A62A-A023-484F-89AF-42129BA6C713}"/>
                </a:ext>
              </a:extLst>
            </p:cNvPr>
            <p:cNvSpPr/>
            <p:nvPr userDrawn="1"/>
          </p:nvSpPr>
          <p:spPr>
            <a:xfrm>
              <a:off x="3715693" y="3429000"/>
              <a:ext cx="3715693" cy="3429000"/>
            </a:xfrm>
            <a:prstGeom prst="rect">
              <a:avLst/>
            </a:prstGeom>
            <a:solidFill>
              <a:srgbClr val="F7E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D1A5460-A635-4EB6-8F12-2D7CD0A5E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1613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3018452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4571078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8C4EFF6E-2525-42AC-AF27-D26AAEC25D67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2096203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730C5BC1-BC93-4CC9-BDC9-D55B21E3D24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1373713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470E8E88-3F9E-4AC5-B857-482E7D843E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038237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2BA66C1B-5994-4ACD-AD12-24E33C487B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725779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3891603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bg>
      <p:bgPr>
        <a:solidFill>
          <a:srgbClr val="9D9C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012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CD566EE3-75D9-4E00-9E54-09F600894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27545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5587154-BD2A-4F12-8229-6CAEFE689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1508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781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349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9/2021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735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61" r:id="rId5"/>
    <p:sldLayoutId id="2147483733" r:id="rId6"/>
    <p:sldLayoutId id="2147483651" r:id="rId7"/>
    <p:sldLayoutId id="2147483698" r:id="rId8"/>
    <p:sldLayoutId id="2147483707" r:id="rId9"/>
    <p:sldLayoutId id="2147483711" r:id="rId10"/>
    <p:sldLayoutId id="2147483699" r:id="rId11"/>
    <p:sldLayoutId id="2147483658" r:id="rId12"/>
    <p:sldLayoutId id="2147483657" r:id="rId13"/>
    <p:sldLayoutId id="2147483656" r:id="rId14"/>
    <p:sldLayoutId id="2147483750" r:id="rId15"/>
    <p:sldLayoutId id="2147483749" r:id="rId1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5BF98D-74DA-45EB-8556-36CEC6EE7E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7" r:id="rId3"/>
    <p:sldLayoutId id="2147483669" r:id="rId4"/>
    <p:sldLayoutId id="2147483734" r:id="rId5"/>
    <p:sldLayoutId id="2147483680" r:id="rId6"/>
    <p:sldLayoutId id="2147483704" r:id="rId7"/>
    <p:sldLayoutId id="2147483708" r:id="rId8"/>
    <p:sldLayoutId id="2147483712" r:id="rId9"/>
    <p:sldLayoutId id="2147483700" r:id="rId10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A5776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6234A4E-2E63-428D-8582-E187BE2192E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5" r:id="rId3"/>
    <p:sldLayoutId id="2147483687" r:id="rId4"/>
    <p:sldLayoutId id="2147483735" r:id="rId5"/>
    <p:sldLayoutId id="2147483688" r:id="rId6"/>
    <p:sldLayoutId id="2147483705" r:id="rId7"/>
    <p:sldLayoutId id="2147483709" r:id="rId8"/>
    <p:sldLayoutId id="2147483713" r:id="rId9"/>
    <p:sldLayoutId id="2147483701" r:id="rId10"/>
    <p:sldLayoutId id="2147483756" r:id="rId1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6646B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9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2" y="6356350"/>
            <a:ext cx="19002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7A6DA15-5310-45AE-9C3A-6144A4E8834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8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3" r:id="rId3"/>
    <p:sldLayoutId id="2147483695" r:id="rId4"/>
    <p:sldLayoutId id="2147483736" r:id="rId5"/>
    <p:sldLayoutId id="2147483696" r:id="rId6"/>
    <p:sldLayoutId id="2147483706" r:id="rId7"/>
    <p:sldLayoutId id="2147483710" r:id="rId8"/>
    <p:sldLayoutId id="2147483714" r:id="rId9"/>
    <p:sldLayoutId id="2147483702" r:id="rId10"/>
    <p:sldLayoutId id="2147483755" r:id="rId1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9/2021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02E4AD-1E16-46A9-AEF5-671B55EA89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51" r:id="rId5"/>
    <p:sldLayoutId id="2147483752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05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9/2021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25CC76DD-CCDD-4DDF-BA02-83CDDFB9D5B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09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2" r:id="rId3"/>
    <p:sldLayoutId id="2147483747" r:id="rId4"/>
    <p:sldLayoutId id="2147483743" r:id="rId5"/>
    <p:sldLayoutId id="2147483748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7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3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3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3.xml"/><Relationship Id="rId5" Type="http://schemas.openxmlformats.org/officeDocument/2006/relationships/chart" Target="../charts/chart7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EFF06E5-5510-4A62-BAAF-EF7C4578E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119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EFF06E5-5510-4A62-BAAF-EF7C4578E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text 6"/>
          <p:cNvSpPr>
            <a:spLocks noGrp="1"/>
          </p:cNvSpPr>
          <p:nvPr>
            <p:ph type="body" sz="quarter" idx="10"/>
          </p:nvPr>
        </p:nvSpPr>
        <p:spPr>
          <a:xfrm>
            <a:off x="887413" y="929709"/>
            <a:ext cx="1846734" cy="161202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sv-SE" sz="5900" b="1" dirty="0">
                <a:latin typeface="ITC New Baskerville Std" panose="02020602060506020304" pitchFamily="18" charset="0"/>
              </a:rPr>
              <a:t>#3</a:t>
            </a:r>
          </a:p>
          <a:p>
            <a:pPr>
              <a:spcBef>
                <a:spcPts val="0"/>
              </a:spcBef>
            </a:pPr>
            <a:r>
              <a:rPr lang="sv-SE" sz="2200" dirty="0">
                <a:latin typeface="Galaxie Polaris Bold" panose="02000000000000000000" pitchFamily="50" charset="0"/>
                <a:ea typeface="Galaxie Polaris Bold" panose="02000000000000000000" pitchFamily="50" charset="0"/>
                <a:cs typeface="Galaxie Polaris Bold" panose="02000000000000000000" pitchFamily="50" charset="0"/>
              </a:rPr>
              <a:t>2021</a:t>
            </a:r>
          </a:p>
        </p:txBody>
      </p:sp>
      <p:sp>
        <p:nvSpPr>
          <p:cNvPr id="10" name="textruta 9"/>
          <p:cNvSpPr txBox="1"/>
          <p:nvPr/>
        </p:nvSpPr>
        <p:spPr>
          <a:xfrm>
            <a:off x="582462" y="5686812"/>
            <a:ext cx="48726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000" dirty="0">
                <a:solidFill>
                  <a:schemeClr val="bg1"/>
                </a:solidFill>
                <a:latin typeface="Galaxie Polaris Heavy" panose="02000000000000000000" pitchFamily="50" charset="0"/>
                <a:ea typeface="Galaxie Polaris Heavy" panose="02000000000000000000" pitchFamily="50" charset="0"/>
                <a:cs typeface="Galaxie Polaris Heavy" panose="02000000000000000000" pitchFamily="50" charset="0"/>
              </a:rPr>
              <a:t>KONJUNKTUREN</a:t>
            </a:r>
          </a:p>
          <a:p>
            <a:r>
              <a:rPr lang="sv-SE" sz="1100" dirty="0">
                <a:solidFill>
                  <a:schemeClr val="bg1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GÖTEBORGSREGIONEN</a:t>
            </a:r>
            <a:endParaRPr lang="sv-SE" sz="3000" dirty="0">
              <a:solidFill>
                <a:schemeClr val="bg1"/>
              </a:solidFill>
              <a:latin typeface="Galaxie Polaris Medium" panose="02000000000000000000" pitchFamily="50" charset="0"/>
              <a:ea typeface="Galaxie Polaris Medium" panose="02000000000000000000" pitchFamily="50" charset="0"/>
              <a:cs typeface="Galaxie Polaris Medium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529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02DC515-0BFD-410E-B8CF-AC58FCA04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Svag befolkningstillväxt i regionen fram till halvårsskiftet 2021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0111BC7-C1E5-4BFE-A7E2-D29D8EB159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 dirty="0"/>
              <a:t>FOLKÖKNING PER KVARTAL I GÖTEBORGSREGIONEN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DD2977FA-3217-4D56-AA2D-94E7D4C06A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SCB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62868EE1-15F3-4A06-99E9-65DD0D3898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8857" y="10882"/>
            <a:ext cx="720000" cy="720000"/>
          </a:xfrm>
          <a:prstGeom prst="rect">
            <a:avLst/>
          </a:prstGeom>
        </p:spPr>
      </p:pic>
      <p:graphicFrame>
        <p:nvGraphicFramePr>
          <p:cNvPr id="9" name="Platshållare för innehåll 8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308639265"/>
              </p:ext>
            </p:extLst>
          </p:nvPr>
        </p:nvGraphicFramePr>
        <p:xfrm>
          <a:off x="839788" y="1808163"/>
          <a:ext cx="10512425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784117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00597067-A8E1-44BB-9701-8FDA112F8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0341268"/>
              </p:ext>
            </p:extLst>
          </p:nvPr>
        </p:nvGraphicFramePr>
        <p:xfrm>
          <a:off x="908309" y="1997609"/>
          <a:ext cx="10260000" cy="2592000"/>
        </p:xfrm>
        <a:graphic>
          <a:graphicData uri="http://schemas.openxmlformats.org/drawingml/2006/table">
            <a:tbl>
              <a:tblPr firstRow="1" firstCol="1" bandRow="1"/>
              <a:tblGrid>
                <a:gridCol w="1260000">
                  <a:extLst>
                    <a:ext uri="{9D8B030D-6E8A-4147-A177-3AD203B41FA5}">
                      <a16:colId xmlns:a16="http://schemas.microsoft.com/office/drawing/2014/main" val="353204004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520083354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3477061657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007106716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3146110435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730147608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sv-SE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b="0" noProof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b="0" noProof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månad</a:t>
                      </a:r>
                      <a:endParaRPr lang="sv-SE" sz="1200" b="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b="0" noProof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månader</a:t>
                      </a:r>
                      <a:endParaRPr lang="sv-SE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b="0" noProof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månader</a:t>
                      </a:r>
                      <a:endParaRPr lang="sv-SE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b="0" noProof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 månader</a:t>
                      </a:r>
                      <a:endParaRPr lang="sv-SE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51790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sv-SE" sz="1200" b="0" noProof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Bostadstyp</a:t>
                      </a:r>
                      <a:endParaRPr lang="sv-SE" sz="1200" b="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sv-SE" sz="1200" b="0" noProof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d / region</a:t>
                      </a:r>
                      <a:endParaRPr lang="sv-SE" sz="1200" b="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uni 2021 - juli 2021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pril 2021 - juli 2021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anuari 2021 - juli 2021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uli 2020 - juli 2021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3305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Bostadsrätter</a:t>
                      </a: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öteborg</a:t>
                      </a: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6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6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2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256633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ockholm</a:t>
                      </a: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2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4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2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,4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889031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v-SE" sz="1200" noProof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lmö</a:t>
                      </a:r>
                      <a:endParaRPr lang="sv-SE" sz="120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5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3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3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,4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02224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verige</a:t>
                      </a: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8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1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,7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500382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Villa</a:t>
                      </a: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öteborgsregionen</a:t>
                      </a:r>
                      <a:endParaRPr lang="sv-SE" sz="1200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9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2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4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,5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7029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ockholmsregionen</a:t>
                      </a: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2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8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8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,0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5165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v-SE" sz="1200" noProof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lmöregionen</a:t>
                      </a:r>
                      <a:endParaRPr lang="sv-SE" sz="120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1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1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,1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,7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21196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v-SE" sz="1200" noProof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verige</a:t>
                      </a:r>
                      <a:endParaRPr lang="sv-SE" sz="1200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9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8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,6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810911"/>
                  </a:ext>
                </a:extLst>
              </a:tr>
            </a:tbl>
          </a:graphicData>
        </a:graphic>
      </p:graphicFrame>
      <p:sp>
        <p:nvSpPr>
          <p:cNvPr id="18" name="Rubrik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enaste perioden visar på fallande bostadspriser</a:t>
            </a:r>
          </a:p>
        </p:txBody>
      </p:sp>
      <p:sp>
        <p:nvSpPr>
          <p:cNvPr id="19" name="Platshållare för text 18"/>
          <p:cNvSpPr>
            <a:spLocks noGrp="1"/>
          </p:cNvSpPr>
          <p:nvPr>
            <p:ph type="body" sz="quarter" idx="13"/>
          </p:nvPr>
        </p:nvSpPr>
        <p:spPr>
          <a:xfrm>
            <a:off x="839789" y="1231901"/>
            <a:ext cx="7111516" cy="468312"/>
          </a:xfrm>
        </p:spPr>
        <p:txBody>
          <a:bodyPr/>
          <a:lstStyle/>
          <a:p>
            <a:r>
              <a:rPr lang="sv-SE" dirty="0"/>
              <a:t>PRISUTVECKLING PÅ BOSTADSRÄTTER OCH VILLOR, JULI 2021 JÄMFÖRT MED 1, 3, 6 OCH 12 MÅNADER TILLBAKA I TIDEN</a:t>
            </a:r>
          </a:p>
        </p:txBody>
      </p:sp>
      <p:sp>
        <p:nvSpPr>
          <p:cNvPr id="21" name="Platshållare för text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/>
              <a:t>Källa: Valueguard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A2728DD-B154-4BD7-A9B2-14F4094FDE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3910" y="5395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2784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54422C1A-CD85-4D86-85DD-8411DE44DF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1106" y="0"/>
            <a:ext cx="720000" cy="72000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5117B245-635D-453D-B53C-BE61E733B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Lägre nivå på konkurser och drabbade anställda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353550A6-EF33-40EB-9406-2915AF776A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6896831" cy="468312"/>
          </a:xfrm>
        </p:spPr>
        <p:txBody>
          <a:bodyPr/>
          <a:lstStyle/>
          <a:p>
            <a:r>
              <a:rPr lang="sv-SE" dirty="0"/>
              <a:t>ANTAL KONKURSER OCH DRABBADE ANSTÄLLDA I GÖTEBORGSREGIONEN – EFTER BRANSCH MARS TILL JULI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505D5DB9-231E-4B2F-8A7E-D3626E29F1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SCB och Tillväxtanalys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B305BF1E-B785-4674-83FA-B69825981B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3800" y="83639"/>
            <a:ext cx="720000" cy="720000"/>
          </a:xfrm>
          <a:prstGeom prst="rect">
            <a:avLst/>
          </a:prstGeom>
        </p:spPr>
      </p:pic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D50544B6-37A2-47B0-8F06-3D772A5EE1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5925363"/>
              </p:ext>
            </p:extLst>
          </p:nvPr>
        </p:nvGraphicFramePr>
        <p:xfrm>
          <a:off x="929360" y="1789032"/>
          <a:ext cx="9537657" cy="4032000"/>
        </p:xfrm>
        <a:graphic>
          <a:graphicData uri="http://schemas.openxmlformats.org/drawingml/2006/table">
            <a:tbl>
              <a:tblPr firstRow="1" firstCol="1" bandRow="1"/>
              <a:tblGrid>
                <a:gridCol w="3132000">
                  <a:extLst>
                    <a:ext uri="{9D8B030D-6E8A-4147-A177-3AD203B41FA5}">
                      <a16:colId xmlns:a16="http://schemas.microsoft.com/office/drawing/2014/main" val="3200426358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281449817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477353123"/>
                    </a:ext>
                  </a:extLst>
                </a:gridCol>
                <a:gridCol w="323880">
                  <a:extLst>
                    <a:ext uri="{9D8B030D-6E8A-4147-A177-3AD203B41FA5}">
                      <a16:colId xmlns:a16="http://schemas.microsoft.com/office/drawing/2014/main" val="2893707866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891303951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959186769"/>
                    </a:ext>
                  </a:extLst>
                </a:gridCol>
                <a:gridCol w="321777">
                  <a:extLst>
                    <a:ext uri="{9D8B030D-6E8A-4147-A177-3AD203B41FA5}">
                      <a16:colId xmlns:a16="http://schemas.microsoft.com/office/drawing/2014/main" val="12862748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s 2019 – juli 2020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577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s 2020 – juli 2021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577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313665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Bransch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onkurser</a:t>
                      </a:r>
                      <a:endParaRPr lang="sv-SE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ställda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onkurser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ställda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07066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Handel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0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812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629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21254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Byggindustri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4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25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7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1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21833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Hotell och restaurang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6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8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79086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Företagstjänster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6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4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7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4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564838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Transport och magasinering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3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3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7996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Tillverkning och utvinning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2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056698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Information och kommunikation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1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11166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Andra serviceföretag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2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822843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Vård och omsorg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8085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Finans och försäkring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389626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Övriga branscher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6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4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7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8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104451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Göteborgsregionen totalt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070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656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029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601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7921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08214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ADDC8949-2B89-4617-9950-95E4E2119C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7979167"/>
              </p:ext>
            </p:extLst>
          </p:nvPr>
        </p:nvGraphicFramePr>
        <p:xfrm>
          <a:off x="921935" y="1205869"/>
          <a:ext cx="5709452" cy="5193603"/>
        </p:xfrm>
        <a:graphic>
          <a:graphicData uri="http://schemas.openxmlformats.org/drawingml/2006/table">
            <a:tbl>
              <a:tblPr firstRow="1" firstCol="1" bandRow="1"/>
              <a:tblGrid>
                <a:gridCol w="2800946">
                  <a:extLst>
                    <a:ext uri="{9D8B030D-6E8A-4147-A177-3AD203B41FA5}">
                      <a16:colId xmlns:a16="http://schemas.microsoft.com/office/drawing/2014/main" val="2634806606"/>
                    </a:ext>
                  </a:extLst>
                </a:gridCol>
                <a:gridCol w="969136">
                  <a:extLst>
                    <a:ext uri="{9D8B030D-6E8A-4147-A177-3AD203B41FA5}">
                      <a16:colId xmlns:a16="http://schemas.microsoft.com/office/drawing/2014/main" val="4066925594"/>
                    </a:ext>
                  </a:extLst>
                </a:gridCol>
                <a:gridCol w="969136">
                  <a:extLst>
                    <a:ext uri="{9D8B030D-6E8A-4147-A177-3AD203B41FA5}">
                      <a16:colId xmlns:a16="http://schemas.microsoft.com/office/drawing/2014/main" val="2615448608"/>
                    </a:ext>
                  </a:extLst>
                </a:gridCol>
                <a:gridCol w="970234">
                  <a:extLst>
                    <a:ext uri="{9D8B030D-6E8A-4147-A177-3AD203B41FA5}">
                      <a16:colId xmlns:a16="http://schemas.microsoft.com/office/drawing/2014/main" val="3630273520"/>
                    </a:ext>
                  </a:extLst>
                </a:gridCol>
              </a:tblGrid>
              <a:tr h="3731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ikator</a:t>
                      </a:r>
                      <a:endParaRPr lang="sv-SE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örändring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6839073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onjunkturindikator, kvartal 2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6,4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1,1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5,3 enh.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711650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önesumma totalt (realt mdkr), kvartal 2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9,42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6,69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4,8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3370862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önesumma företag (realt mdkr), kvartal 2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,78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,51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5,2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269783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betslöshet, augusti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4397690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Totalt 16-64 år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9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,5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6%-enh.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762449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Inrikes födda 16-64 år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9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3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4%-enh.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5096671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Utrikes födda 16-64 år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,3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,8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,5%-enh.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09061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Totalt 18-24 år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,8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,9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,1%-enh.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0908921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Inrikes födda 18-24 år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1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,2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,1%-enh.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7557603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Utrikes födda 18-24 år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,4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,4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5,0%-enh.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9590433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diga platser, jun – aug (snitt per mån)</a:t>
                      </a:r>
                      <a:endParaRPr lang="sv-SE" sz="19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6 535</a:t>
                      </a:r>
                      <a:endParaRPr lang="sv-SE" sz="19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313</a:t>
                      </a:r>
                      <a:endParaRPr lang="sv-SE" sz="19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97,3%</a:t>
                      </a:r>
                      <a:endParaRPr lang="sv-SE" sz="19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789564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rsel, jun – aug (snitt per mån)</a:t>
                      </a:r>
                      <a:endParaRPr lang="sv-SE" sz="1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6</a:t>
                      </a:r>
                      <a:endParaRPr lang="sv-SE" sz="1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43</a:t>
                      </a:r>
                      <a:endParaRPr lang="sv-SE" sz="1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87,1%</a:t>
                      </a:r>
                      <a:endParaRPr lang="sv-SE" sz="1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1769355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lkmängd, kvartal 2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 052 757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 045 560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0,7 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218042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tal konkurser, mar – jul*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029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070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,8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18896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abbade anställda, mar – jul*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656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601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5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0932154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yregistrerade bilar, kvartal 2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 062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214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61,9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9491213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ygpassagerare, maj-jul (snitt per mån)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8 269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 589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69,4%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0454383"/>
                  </a:ext>
                </a:extLst>
              </a:tr>
              <a:tr h="267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ästnätter, kvartal 2 (snitt/mån)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 348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983</a:t>
                      </a:r>
                      <a:endParaRPr lang="sv-SE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00,4%</a:t>
                      </a:r>
                      <a:endParaRPr lang="sv-SE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8535" marR="1185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5286445"/>
                  </a:ext>
                </a:extLst>
              </a:tr>
            </a:tbl>
          </a:graphicData>
        </a:graphic>
      </p:graphicFrame>
      <p:sp>
        <p:nvSpPr>
          <p:cNvPr id="18" name="Rubrik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Sammanfattande tabell över konjunkturläget i Göteborgsregionen</a:t>
            </a:r>
            <a:endParaRPr lang="en-GB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D43177C-AEB1-4438-B133-3A4A3D315D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30" y="-868"/>
            <a:ext cx="720000" cy="720000"/>
          </a:xfrm>
          <a:prstGeom prst="rect">
            <a:avLst/>
          </a:prstGeom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id="{8E38EE86-28AD-4286-BE1E-0424015948C1}"/>
              </a:ext>
            </a:extLst>
          </p:cNvPr>
          <p:cNvSpPr txBox="1"/>
          <p:nvPr/>
        </p:nvSpPr>
        <p:spPr>
          <a:xfrm>
            <a:off x="6798365" y="1459457"/>
            <a:ext cx="48502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sv-SE" sz="900" dirty="0"/>
              <a:t>Källa: Konjunkturinstitutet, SCB, Arbetsförmedlingen, Tillväxtanalys, Tillväxtverket och Transportstyrelsen</a:t>
            </a:r>
          </a:p>
          <a:p>
            <a:pPr>
              <a:spcAft>
                <a:spcPts val="600"/>
              </a:spcAft>
            </a:pPr>
            <a:r>
              <a:rPr lang="sv-SE" sz="900" dirty="0"/>
              <a:t>* Avser summa för perioden mars 2020 - juli 2021 jämfört med samma period 2019 / 2020.</a:t>
            </a:r>
          </a:p>
        </p:txBody>
      </p:sp>
    </p:spTree>
    <p:extLst>
      <p:ext uri="{BB962C8B-B14F-4D97-AF65-F5344CB8AC3E}">
        <p14:creationId xmlns:p14="http://schemas.microsoft.com/office/powerpoint/2010/main" val="28922101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8191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ubrik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Starkare läge för viktiga marknader</a:t>
            </a:r>
            <a:endParaRPr lang="en-GB" b="0" dirty="0">
              <a:latin typeface="Arial Rounded MT Bold" panose="020F0704030504030204" pitchFamily="34" charset="0"/>
            </a:endParaRPr>
          </a:p>
        </p:txBody>
      </p:sp>
      <p:sp>
        <p:nvSpPr>
          <p:cNvPr id="19" name="Platshållare för text 18"/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7922168" cy="468312"/>
          </a:xfrm>
        </p:spPr>
        <p:txBody>
          <a:bodyPr/>
          <a:lstStyle/>
          <a:p>
            <a:r>
              <a:rPr lang="sv-SE" dirty="0"/>
              <a:t>REAL BNP-TILLVÄXT – PROGNOS 2021-2022 (I %) FÖR SVERIGE OCH NÅGRA AV GÖTEBORGSREGIONENS VIKTIGASTE EXPORTMARKNADER</a:t>
            </a:r>
            <a:endParaRPr lang="en-GB" dirty="0"/>
          </a:p>
        </p:txBody>
      </p:sp>
      <p:sp>
        <p:nvSpPr>
          <p:cNvPr id="21" name="Platshållare för text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SEB, Swedbank, Handelsbanken, OECD (augusti 2021) och EU (juli 2021)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4A1DFF1-C42D-4D51-B26D-870D1EF1CE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370" y="6526"/>
            <a:ext cx="720000" cy="720000"/>
          </a:xfrm>
          <a:prstGeom prst="rect">
            <a:avLst/>
          </a:prstGeom>
        </p:spPr>
      </p:pic>
      <p:sp>
        <p:nvSpPr>
          <p:cNvPr id="3" name="Rektangel 2">
            <a:extLst>
              <a:ext uri="{FF2B5EF4-FFF2-40B4-BE49-F238E27FC236}">
                <a16:creationId xmlns:a16="http://schemas.microsoft.com/office/drawing/2014/main" id="{1A20816D-92E1-41E2-839C-C40904796923}"/>
              </a:ext>
            </a:extLst>
          </p:cNvPr>
          <p:cNvSpPr/>
          <p:nvPr/>
        </p:nvSpPr>
        <p:spPr>
          <a:xfrm>
            <a:off x="838199" y="6158907"/>
            <a:ext cx="856819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dirty="0">
                <a:latin typeface="Arial" panose="020B0604020202020204" pitchFamily="34" charset="0"/>
                <a:ea typeface="Calibri" panose="020F0502020204030204" pitchFamily="34" charset="0"/>
              </a:rPr>
              <a:t>* </a:t>
            </a:r>
            <a:r>
              <a:rPr lang="sv-SE" sz="900" dirty="0">
                <a:latin typeface="Arial" panose="020B0604020202020204" pitchFamily="34" charset="0"/>
                <a:ea typeface="Calibri" panose="020F0502020204030204" pitchFamily="34" charset="0"/>
              </a:rPr>
              <a:t>Genomsnitt för de fem senaste prognoserna i Konjunkturinstitutets sammanställning från SEB, Regeringen, Handelsbanken, Swedbank och Riksbanken.</a:t>
            </a:r>
            <a:endParaRPr lang="sv-SE" sz="2000" dirty="0"/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408D8318-1AD4-4FAA-A410-8533FBC32F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504837"/>
              </p:ext>
            </p:extLst>
          </p:nvPr>
        </p:nvGraphicFramePr>
        <p:xfrm>
          <a:off x="932793" y="1868547"/>
          <a:ext cx="8572299" cy="3978000"/>
        </p:xfrm>
        <a:graphic>
          <a:graphicData uri="http://schemas.openxmlformats.org/drawingml/2006/table">
            <a:tbl>
              <a:tblPr firstRow="1" firstCol="1" bandRow="1"/>
              <a:tblGrid>
                <a:gridCol w="3532299">
                  <a:extLst>
                    <a:ext uri="{9D8B030D-6E8A-4147-A177-3AD203B41FA5}">
                      <a16:colId xmlns:a16="http://schemas.microsoft.com/office/drawing/2014/main" val="1780611512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293073123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98623278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130632170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435807279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Land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del av regionens export</a:t>
                      </a:r>
                      <a:endParaRPr lang="sv-SE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1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2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  </a:t>
                      </a:r>
                      <a:endParaRPr lang="sv-SE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2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B5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9982175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Sverige*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v-SE" sz="12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4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Wingdings" panose="05000000000000000000" pitchFamily="2" charset="2"/>
                          <a:ea typeface="Wingdings" panose="05000000000000000000" pitchFamily="2" charset="2"/>
                          <a:cs typeface="Wingdings" panose="05000000000000000000" pitchFamily="2" charset="2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6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2172626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USA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,4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3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1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2112437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Belgien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,9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1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6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67052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Norge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,7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2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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8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8664364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Kina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,5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,4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6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44297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Tyskland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,3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2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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6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202708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Danmark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,3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3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Wingdings" panose="05000000000000000000" pitchFamily="2" charset="2"/>
                          <a:ea typeface="Wingdings" panose="05000000000000000000" pitchFamily="2" charset="2"/>
                          <a:cs typeface="Wingdings" panose="05000000000000000000" pitchFamily="2" charset="2"/>
                          <a:sym typeface="Wingdings 3" panose="05040102010807070707" pitchFamily="18" charset="2"/>
                        </a:rPr>
                        <a:t>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3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76976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Finland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7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0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9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323245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Storbritannien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1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,1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6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70122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Nederländerna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8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4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Wingdings" panose="05000000000000000000" pitchFamily="2" charset="2"/>
                          <a:ea typeface="Wingdings" panose="05000000000000000000" pitchFamily="2" charset="2"/>
                          <a:cs typeface="Wingdings" panose="05000000000000000000" pitchFamily="2" charset="2"/>
                          <a:sym typeface="Wingdings 3" panose="05040102010807070707" pitchFamily="18" charset="2"/>
                        </a:rPr>
                        <a:t>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5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2645429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Frankrike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4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9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2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865837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BNP-tillväxt för Göteborgsregionens 10</a:t>
                      </a:r>
                      <a:b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största exportmarknader (exportviktat)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,1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0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1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B3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0533787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EMU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7%</a:t>
                      </a:r>
                      <a:endParaRPr lang="sv-S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3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072266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Världen</a:t>
                      </a:r>
                      <a:endParaRPr lang="sv-S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,9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Wingdings 3" panose="05040102010807070707" pitchFamily="18" charset="2"/>
                        </a:rPr>
                        <a:t>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4%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621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06639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A4307A2-1FB4-4ABD-BB13-47E904869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veriges ekonomiska tillväxt spås vara god framå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9807372-AD6A-4FE2-8786-0795491000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7668108" cy="468312"/>
          </a:xfrm>
        </p:spPr>
        <p:txBody>
          <a:bodyPr/>
          <a:lstStyle/>
          <a:p>
            <a:r>
              <a:rPr lang="sv-SE" dirty="0"/>
              <a:t>DE FEM SENASTE PROGNOSERNA ÖVER SVERIGES BNP-TILLVÄXT (I %) 2020-2022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EF54AD04-DA5C-4DE4-BCF4-0E10B41F8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Konjunkturinstitutet 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E3F9E0AC-FEBB-4599-A46D-2E0CB0B444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370" y="6526"/>
            <a:ext cx="720000" cy="720000"/>
          </a:xfrm>
          <a:prstGeom prst="rect">
            <a:avLst/>
          </a:prstGeom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8756B883-F115-4C90-B2DA-44F5F0DD26F6}"/>
              </a:ext>
            </a:extLst>
          </p:cNvPr>
          <p:cNvSpPr/>
          <p:nvPr/>
        </p:nvSpPr>
        <p:spPr>
          <a:xfrm>
            <a:off x="838200" y="6158907"/>
            <a:ext cx="60317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900" b="1" dirty="0">
                <a:latin typeface="Arial" panose="020B0604020202020204" pitchFamily="34" charset="0"/>
                <a:ea typeface="Calibri" panose="020F0502020204030204" pitchFamily="34" charset="0"/>
              </a:rPr>
              <a:t>Not: </a:t>
            </a:r>
            <a:r>
              <a:rPr lang="sv-SE" sz="900" dirty="0">
                <a:latin typeface="Arial" panose="020B0604020202020204" pitchFamily="34" charset="0"/>
                <a:ea typeface="Calibri" panose="020F0502020204030204" pitchFamily="34" charset="0"/>
              </a:rPr>
              <a:t>Sverigesnitt är ett genomsnitt av de fem senaste prognoserna i Konjunkturinstitutets sammanställning från SEB, Regeringen, Handelsbanken, Swedbank och Riksbanken.</a:t>
            </a:r>
            <a:endParaRPr lang="sv-SE" sz="2000" dirty="0"/>
          </a:p>
        </p:txBody>
      </p:sp>
      <p:graphicFrame>
        <p:nvGraphicFramePr>
          <p:cNvPr id="14" name="Platshållare för innehåll 13">
            <a:extLst>
              <a:ext uri="{FF2B5EF4-FFF2-40B4-BE49-F238E27FC236}">
                <a16:creationId xmlns:a16="http://schemas.microsoft.com/office/drawing/2014/main" id="{53A49868-3497-4A1C-B0B4-8A7787EF9DD7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921989180"/>
              </p:ext>
            </p:extLst>
          </p:nvPr>
        </p:nvGraphicFramePr>
        <p:xfrm>
          <a:off x="839788" y="1808163"/>
          <a:ext cx="10512425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8485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ubrik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ådande högkonjunktur upplevs av regionens företag </a:t>
            </a:r>
          </a:p>
        </p:txBody>
      </p:sp>
      <p:sp>
        <p:nvSpPr>
          <p:cNvPr id="19" name="Platshållare för text 18"/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9331346" cy="468312"/>
          </a:xfrm>
        </p:spPr>
        <p:txBody>
          <a:bodyPr/>
          <a:lstStyle/>
          <a:p>
            <a:r>
              <a:rPr lang="sv-SE" dirty="0"/>
              <a:t>KONKJUNKTURINDIKATOR FÖR NÄRINGSLIVET I GÖTEBORGSREGIONEN – KVARTALSVIS FRÅN 2006</a:t>
            </a:r>
          </a:p>
        </p:txBody>
      </p:sp>
      <p:sp>
        <p:nvSpPr>
          <p:cNvPr id="21" name="Platshållare för text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Konjunkturinstitutet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7E4FC36A-E232-493F-92EC-F1001F9C54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370" y="6526"/>
            <a:ext cx="720000" cy="720000"/>
          </a:xfrm>
          <a:prstGeom prst="rect">
            <a:avLst/>
          </a:prstGeom>
        </p:spPr>
      </p:pic>
      <p:grpSp>
        <p:nvGrpSpPr>
          <p:cNvPr id="13" name="Grupp 12">
            <a:extLst>
              <a:ext uri="{FF2B5EF4-FFF2-40B4-BE49-F238E27FC236}">
                <a16:creationId xmlns:a16="http://schemas.microsoft.com/office/drawing/2014/main" id="{4739AE5C-8CF4-4857-90CE-0D990CB29107}"/>
              </a:ext>
            </a:extLst>
          </p:cNvPr>
          <p:cNvGrpSpPr/>
          <p:nvPr/>
        </p:nvGrpSpPr>
        <p:grpSpPr>
          <a:xfrm>
            <a:off x="9113208" y="3422691"/>
            <a:ext cx="2179285" cy="973280"/>
            <a:chOff x="1902964" y="154723"/>
            <a:chExt cx="2179285" cy="973280"/>
          </a:xfrm>
        </p:grpSpPr>
        <p:sp>
          <p:nvSpPr>
            <p:cNvPr id="14" name="textruta 62">
              <a:extLst>
                <a:ext uri="{FF2B5EF4-FFF2-40B4-BE49-F238E27FC236}">
                  <a16:creationId xmlns:a16="http://schemas.microsoft.com/office/drawing/2014/main" id="{AB17FC9B-5EA8-46ED-84DE-5C1502B653F2}"/>
                </a:ext>
              </a:extLst>
            </p:cNvPr>
            <p:cNvSpPr txBox="1"/>
            <p:nvPr/>
          </p:nvSpPr>
          <p:spPr>
            <a:xfrm>
              <a:off x="1902964" y="154723"/>
              <a:ext cx="2179285" cy="9732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dirty="0"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Lågkonjunktur</a:t>
              </a: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: &lt; 90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dirty="0"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Svagare än n</a:t>
              </a: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ormalt: 90 ≤ 99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Normalt: 99 ≤ 101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Starkare än normalt: 101 ≤ 110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dirty="0"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Högkonjunktur</a:t>
              </a: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: &gt; 110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</p:txBody>
        </p:sp>
        <p:sp>
          <p:nvSpPr>
            <p:cNvPr id="15" name="Rektangel 14">
              <a:extLst>
                <a:ext uri="{FF2B5EF4-FFF2-40B4-BE49-F238E27FC236}">
                  <a16:creationId xmlns:a16="http://schemas.microsoft.com/office/drawing/2014/main" id="{D670FC5C-ADEF-4D15-85C0-B32DB006FBD6}"/>
                </a:ext>
              </a:extLst>
            </p:cNvPr>
            <p:cNvSpPr/>
            <p:nvPr/>
          </p:nvSpPr>
          <p:spPr bwMode="auto">
            <a:xfrm>
              <a:off x="2049931" y="231153"/>
              <a:ext cx="71755" cy="71755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97F52E90-72A7-4934-9065-0463A4AA83EE}"/>
                </a:ext>
              </a:extLst>
            </p:cNvPr>
            <p:cNvSpPr/>
            <p:nvPr/>
          </p:nvSpPr>
          <p:spPr bwMode="auto">
            <a:xfrm>
              <a:off x="2049931" y="410761"/>
              <a:ext cx="71755" cy="7175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D9DA1E5B-9BA6-43A2-B2C2-DEEC27365F6D}"/>
                </a:ext>
              </a:extLst>
            </p:cNvPr>
            <p:cNvSpPr/>
            <p:nvPr/>
          </p:nvSpPr>
          <p:spPr bwMode="auto">
            <a:xfrm>
              <a:off x="2049931" y="600512"/>
              <a:ext cx="71755" cy="71755"/>
            </a:xfrm>
            <a:prstGeom prst="rect">
              <a:avLst/>
            </a:prstGeom>
            <a:solidFill>
              <a:srgbClr val="7DB094"/>
            </a:solidFill>
            <a:ln w="9525" cap="flat" cmpd="sng" algn="ctr">
              <a:solidFill>
                <a:srgbClr val="7DB09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35375B0A-E2CD-48EA-858D-0248F7720AE4}"/>
                </a:ext>
              </a:extLst>
            </p:cNvPr>
            <p:cNvSpPr/>
            <p:nvPr/>
          </p:nvSpPr>
          <p:spPr bwMode="auto">
            <a:xfrm>
              <a:off x="2049931" y="790760"/>
              <a:ext cx="71755" cy="71755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742ED2E2-8D11-41EA-B0F3-45C04F4E583C}"/>
                </a:ext>
              </a:extLst>
            </p:cNvPr>
            <p:cNvSpPr/>
            <p:nvPr/>
          </p:nvSpPr>
          <p:spPr bwMode="auto">
            <a:xfrm>
              <a:off x="2049931" y="965049"/>
              <a:ext cx="71755" cy="71755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</p:grpSp>
      <p:sp>
        <p:nvSpPr>
          <p:cNvPr id="23" name="Textruta 9">
            <a:extLst>
              <a:ext uri="{FF2B5EF4-FFF2-40B4-BE49-F238E27FC236}">
                <a16:creationId xmlns:a16="http://schemas.microsoft.com/office/drawing/2014/main" id="{57AE1080-E49E-4612-8847-88B21FDBA093}"/>
              </a:ext>
            </a:extLst>
          </p:cNvPr>
          <p:cNvSpPr txBox="1"/>
          <p:nvPr/>
        </p:nvSpPr>
        <p:spPr>
          <a:xfrm>
            <a:off x="9011006" y="4488087"/>
            <a:ext cx="2341206" cy="730249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106000"/>
              </a:lnSpc>
              <a:spcAft>
                <a:spcPts val="800"/>
              </a:spcAft>
            </a:pPr>
            <a:r>
              <a:rPr lang="sv-SE" sz="900" dirty="0"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1 533 företag i Göteborgsregionens näringsliv fick enkäten. 730 företag svarade, vilket ger en svarsfrekvens på 48 procent.  Enkätperiod:</a:t>
            </a:r>
          </a:p>
          <a:p>
            <a:pPr algn="just">
              <a:lnSpc>
                <a:spcPct val="106000"/>
              </a:lnSpc>
              <a:spcAft>
                <a:spcPts val="800"/>
              </a:spcAft>
            </a:pPr>
            <a:r>
              <a:rPr lang="sv-SE" sz="900" dirty="0"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30 juni 2021 – 21 juli 2021</a:t>
            </a:r>
          </a:p>
        </p:txBody>
      </p:sp>
      <p:grpSp>
        <p:nvGrpSpPr>
          <p:cNvPr id="2" name="Grupp 1">
            <a:extLst>
              <a:ext uri="{FF2B5EF4-FFF2-40B4-BE49-F238E27FC236}">
                <a16:creationId xmlns:a16="http://schemas.microsoft.com/office/drawing/2014/main" id="{0922AF02-035C-402C-A764-3AF055BCE52C}"/>
              </a:ext>
            </a:extLst>
          </p:cNvPr>
          <p:cNvGrpSpPr/>
          <p:nvPr/>
        </p:nvGrpSpPr>
        <p:grpSpPr>
          <a:xfrm>
            <a:off x="9154125" y="1978394"/>
            <a:ext cx="1881800" cy="1196825"/>
            <a:chOff x="8319433" y="644168"/>
            <a:chExt cx="1881800" cy="1196825"/>
          </a:xfrm>
        </p:grpSpPr>
        <p:pic>
          <p:nvPicPr>
            <p:cNvPr id="27" name="Bildobjekt 26">
              <a:extLst>
                <a:ext uri="{FF2B5EF4-FFF2-40B4-BE49-F238E27FC236}">
                  <a16:creationId xmlns:a16="http://schemas.microsoft.com/office/drawing/2014/main" id="{04A3F699-7C5A-499A-8F21-9FC01ED74B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1151" r="13516" b="47808"/>
            <a:stretch/>
          </p:blipFill>
          <p:spPr>
            <a:xfrm>
              <a:off x="8363884" y="778376"/>
              <a:ext cx="1758454" cy="864000"/>
            </a:xfrm>
            <a:prstGeom prst="rect">
              <a:avLst/>
            </a:prstGeom>
          </p:spPr>
        </p:pic>
        <p:cxnSp>
          <p:nvCxnSpPr>
            <p:cNvPr id="28" name="Rak pilkoppling 27">
              <a:extLst>
                <a:ext uri="{FF2B5EF4-FFF2-40B4-BE49-F238E27FC236}">
                  <a16:creationId xmlns:a16="http://schemas.microsoft.com/office/drawing/2014/main" id="{3ABF0931-A9A9-4863-8B85-92ACE5E52C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56693" y="1306312"/>
              <a:ext cx="648196" cy="307643"/>
            </a:xfrm>
            <a:prstGeom prst="straightConnector1">
              <a:avLst/>
            </a:prstGeom>
            <a:ln w="25400" cap="rnd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ruta 17">
              <a:extLst>
                <a:ext uri="{FF2B5EF4-FFF2-40B4-BE49-F238E27FC236}">
                  <a16:creationId xmlns:a16="http://schemas.microsoft.com/office/drawing/2014/main" id="{5ED8E087-A3F7-4CE9-ADF3-9D2DBB603936}"/>
                </a:ext>
              </a:extLst>
            </p:cNvPr>
            <p:cNvSpPr txBox="1"/>
            <p:nvPr/>
          </p:nvSpPr>
          <p:spPr>
            <a:xfrm>
              <a:off x="8319433" y="968229"/>
              <a:ext cx="355600" cy="179911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sv-SE" sz="10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90</a:t>
              </a:r>
              <a:endParaRPr lang="sv-S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Textruta 17">
              <a:extLst>
                <a:ext uri="{FF2B5EF4-FFF2-40B4-BE49-F238E27FC236}">
                  <a16:creationId xmlns:a16="http://schemas.microsoft.com/office/drawing/2014/main" id="{0BE54128-F3B2-4558-8E2F-E059BA8FF202}"/>
                </a:ext>
              </a:extLst>
            </p:cNvPr>
            <p:cNvSpPr txBox="1"/>
            <p:nvPr/>
          </p:nvSpPr>
          <p:spPr>
            <a:xfrm>
              <a:off x="9845633" y="964920"/>
              <a:ext cx="355600" cy="17970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sv-SE" sz="10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10</a:t>
              </a:r>
              <a:endParaRPr lang="sv-SE" sz="16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3" name="Textruta 17">
              <a:extLst>
                <a:ext uri="{FF2B5EF4-FFF2-40B4-BE49-F238E27FC236}">
                  <a16:creationId xmlns:a16="http://schemas.microsoft.com/office/drawing/2014/main" id="{F4DB97A3-3819-4FB4-8E33-278E7E6F15DD}"/>
                </a:ext>
              </a:extLst>
            </p:cNvPr>
            <p:cNvSpPr txBox="1"/>
            <p:nvPr/>
          </p:nvSpPr>
          <p:spPr>
            <a:xfrm>
              <a:off x="8786453" y="644168"/>
              <a:ext cx="355600" cy="17970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sv-SE" sz="10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99</a:t>
              </a:r>
              <a:endParaRPr lang="sv-SE" sz="16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Textruta 17">
              <a:extLst>
                <a:ext uri="{FF2B5EF4-FFF2-40B4-BE49-F238E27FC236}">
                  <a16:creationId xmlns:a16="http://schemas.microsoft.com/office/drawing/2014/main" id="{675015E8-469F-48B5-ACEF-2D171904705C}"/>
                </a:ext>
              </a:extLst>
            </p:cNvPr>
            <p:cNvSpPr txBox="1"/>
            <p:nvPr/>
          </p:nvSpPr>
          <p:spPr>
            <a:xfrm>
              <a:off x="9352873" y="644168"/>
              <a:ext cx="355600" cy="179705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sv-SE" sz="10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01</a:t>
              </a:r>
              <a:endParaRPr lang="sv-SE" sz="16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5" name="Rak koppling 34">
              <a:extLst>
                <a:ext uri="{FF2B5EF4-FFF2-40B4-BE49-F238E27FC236}">
                  <a16:creationId xmlns:a16="http://schemas.microsoft.com/office/drawing/2014/main" id="{CF978D9B-EF80-4070-AF12-80D38457293C}"/>
                </a:ext>
              </a:extLst>
            </p:cNvPr>
            <p:cNvCxnSpPr/>
            <p:nvPr/>
          </p:nvCxnSpPr>
          <p:spPr>
            <a:xfrm flipV="1">
              <a:off x="8380201" y="1601959"/>
              <a:ext cx="1728000" cy="0"/>
            </a:xfrm>
            <a:prstGeom prst="line">
              <a:avLst/>
            </a:prstGeom>
            <a:ln w="3810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Ellips 35">
              <a:extLst>
                <a:ext uri="{FF2B5EF4-FFF2-40B4-BE49-F238E27FC236}">
                  <a16:creationId xmlns:a16="http://schemas.microsoft.com/office/drawing/2014/main" id="{A60E249A-4317-4456-8C0E-15C74DB2159B}"/>
                </a:ext>
              </a:extLst>
            </p:cNvPr>
            <p:cNvSpPr/>
            <p:nvPr/>
          </p:nvSpPr>
          <p:spPr>
            <a:xfrm>
              <a:off x="9022693" y="1372993"/>
              <a:ext cx="468000" cy="468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sv-SE" sz="1000" dirty="0">
                  <a:solidFill>
                    <a:srgbClr val="FFFFFF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16</a:t>
              </a:r>
              <a:r>
                <a:rPr lang="sv-SE" sz="10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,4</a:t>
              </a:r>
              <a:endParaRPr lang="sv-SE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29" name="Platshållare för innehåll 28">
            <a:extLst>
              <a:ext uri="{FF2B5EF4-FFF2-40B4-BE49-F238E27FC236}">
                <a16:creationId xmlns:a16="http://schemas.microsoft.com/office/drawing/2014/main" id="{297BBD36-F3E9-4781-B4CA-135B80EE4BF4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920891847"/>
              </p:ext>
            </p:extLst>
          </p:nvPr>
        </p:nvGraphicFramePr>
        <p:xfrm>
          <a:off x="839788" y="1808163"/>
          <a:ext cx="7884000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10974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ubrik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ögkonjunktur inom både handel och tjänster</a:t>
            </a:r>
          </a:p>
        </p:txBody>
      </p:sp>
      <p:sp>
        <p:nvSpPr>
          <p:cNvPr id="19" name="Platshållare för text 18"/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5457645" cy="468312"/>
          </a:xfrm>
        </p:spPr>
        <p:txBody>
          <a:bodyPr/>
          <a:lstStyle/>
          <a:p>
            <a:r>
              <a:rPr lang="sv-SE" dirty="0"/>
              <a:t>KONKJUNKTURINDIKATOR PER SEKTOR FÖR NÄRINGSLIVET I GÖTEBORGSREGIONEN</a:t>
            </a:r>
          </a:p>
        </p:txBody>
      </p:sp>
      <p:sp>
        <p:nvSpPr>
          <p:cNvPr id="21" name="Platshållare för text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Konjunkturinstitutet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68DB4E5-06AF-49C4-9F40-1FF8217E27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370" y="6526"/>
            <a:ext cx="720000" cy="720000"/>
          </a:xfrm>
          <a:prstGeom prst="rect">
            <a:avLst/>
          </a:prstGeom>
        </p:spPr>
      </p:pic>
      <p:grpSp>
        <p:nvGrpSpPr>
          <p:cNvPr id="14" name="Grupp 13">
            <a:extLst>
              <a:ext uri="{FF2B5EF4-FFF2-40B4-BE49-F238E27FC236}">
                <a16:creationId xmlns:a16="http://schemas.microsoft.com/office/drawing/2014/main" id="{531208B5-9F08-4EE5-A8EC-BE7BD9F18B9C}"/>
              </a:ext>
            </a:extLst>
          </p:cNvPr>
          <p:cNvGrpSpPr/>
          <p:nvPr/>
        </p:nvGrpSpPr>
        <p:grpSpPr>
          <a:xfrm>
            <a:off x="8776715" y="485896"/>
            <a:ext cx="2179285" cy="973280"/>
            <a:chOff x="1902964" y="154723"/>
            <a:chExt cx="2179285" cy="973280"/>
          </a:xfrm>
        </p:grpSpPr>
        <p:sp>
          <p:nvSpPr>
            <p:cNvPr id="16" name="textruta 62">
              <a:extLst>
                <a:ext uri="{FF2B5EF4-FFF2-40B4-BE49-F238E27FC236}">
                  <a16:creationId xmlns:a16="http://schemas.microsoft.com/office/drawing/2014/main" id="{685B474C-7980-4A3B-A761-5A4C779C67B2}"/>
                </a:ext>
              </a:extLst>
            </p:cNvPr>
            <p:cNvSpPr txBox="1"/>
            <p:nvPr/>
          </p:nvSpPr>
          <p:spPr>
            <a:xfrm>
              <a:off x="1902964" y="154723"/>
              <a:ext cx="2179285" cy="9732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dirty="0"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Lågkonjunktur</a:t>
              </a: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: &lt; 90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dirty="0"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Svagare än n</a:t>
              </a: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ormalt: 90 ≤ 99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Normalt: 99 ≤ 101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Starkare än normalt: 101 ≤ 110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  <a:p>
              <a:pPr marL="182880">
                <a:lnSpc>
                  <a:spcPct val="106000"/>
                </a:lnSpc>
                <a:spcAft>
                  <a:spcPts val="300"/>
                </a:spcAft>
              </a:pPr>
              <a:r>
                <a:rPr lang="sv-SE" sz="900" dirty="0"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Högkonjunktur</a:t>
              </a:r>
              <a:r>
                <a:rPr lang="sv-SE" sz="900" kern="1200" dirty="0">
                  <a:effectLst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: &gt; 110</a:t>
              </a:r>
              <a:endParaRPr lang="sv-SE" sz="900" dirty="0">
                <a:effectLst/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64298C3E-DA9F-4152-8465-49B94AEF6D03}"/>
                </a:ext>
              </a:extLst>
            </p:cNvPr>
            <p:cNvSpPr/>
            <p:nvPr/>
          </p:nvSpPr>
          <p:spPr bwMode="auto">
            <a:xfrm>
              <a:off x="2049931" y="231153"/>
              <a:ext cx="71755" cy="71755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4769331C-CCD7-4068-B9C0-BBCBA2C46CF4}"/>
                </a:ext>
              </a:extLst>
            </p:cNvPr>
            <p:cNvSpPr/>
            <p:nvPr/>
          </p:nvSpPr>
          <p:spPr bwMode="auto">
            <a:xfrm>
              <a:off x="2049931" y="410761"/>
              <a:ext cx="71755" cy="7175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4321A7B8-3D43-4D3B-A9EC-10A34FE007B8}"/>
                </a:ext>
              </a:extLst>
            </p:cNvPr>
            <p:cNvSpPr/>
            <p:nvPr/>
          </p:nvSpPr>
          <p:spPr bwMode="auto">
            <a:xfrm>
              <a:off x="2049931" y="600512"/>
              <a:ext cx="71755" cy="71755"/>
            </a:xfrm>
            <a:prstGeom prst="rect">
              <a:avLst/>
            </a:prstGeom>
            <a:solidFill>
              <a:srgbClr val="7DB094"/>
            </a:solidFill>
            <a:ln w="9525" cap="flat" cmpd="sng" algn="ctr">
              <a:solidFill>
                <a:srgbClr val="7DB09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  <p:sp>
          <p:nvSpPr>
            <p:cNvPr id="23" name="Rektangel 22">
              <a:extLst>
                <a:ext uri="{FF2B5EF4-FFF2-40B4-BE49-F238E27FC236}">
                  <a16:creationId xmlns:a16="http://schemas.microsoft.com/office/drawing/2014/main" id="{C41114E5-B830-434A-8288-9D7BFAE5960A}"/>
                </a:ext>
              </a:extLst>
            </p:cNvPr>
            <p:cNvSpPr/>
            <p:nvPr/>
          </p:nvSpPr>
          <p:spPr bwMode="auto">
            <a:xfrm>
              <a:off x="2049931" y="790760"/>
              <a:ext cx="71755" cy="71755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  <p:sp>
          <p:nvSpPr>
            <p:cNvPr id="24" name="Rektangel 23">
              <a:extLst>
                <a:ext uri="{FF2B5EF4-FFF2-40B4-BE49-F238E27FC236}">
                  <a16:creationId xmlns:a16="http://schemas.microsoft.com/office/drawing/2014/main" id="{F6D7CBBC-5058-4FA6-A233-BE1F186074F7}"/>
                </a:ext>
              </a:extLst>
            </p:cNvPr>
            <p:cNvSpPr/>
            <p:nvPr/>
          </p:nvSpPr>
          <p:spPr bwMode="auto">
            <a:xfrm>
              <a:off x="2049931" y="965049"/>
              <a:ext cx="71755" cy="71755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8288" tIns="0" rIns="0" bIns="0" rtlCol="0" anchor="t" upright="1"/>
            <a:lstStyle/>
            <a:p>
              <a:endParaRPr lang="sv-SE"/>
            </a:p>
          </p:txBody>
        </p:sp>
      </p:grpSp>
      <p:sp>
        <p:nvSpPr>
          <p:cNvPr id="44" name="textruta 43">
            <a:extLst>
              <a:ext uri="{FF2B5EF4-FFF2-40B4-BE49-F238E27FC236}">
                <a16:creationId xmlns:a16="http://schemas.microsoft.com/office/drawing/2014/main" id="{A44071FA-ABF5-4E7E-8EA9-A0378E9F9827}"/>
              </a:ext>
            </a:extLst>
          </p:cNvPr>
          <p:cNvSpPr txBox="1"/>
          <p:nvPr/>
        </p:nvSpPr>
        <p:spPr>
          <a:xfrm>
            <a:off x="8810134" y="255064"/>
            <a:ext cx="25436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900" dirty="0"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Intervall för konjunkturindikatorn:</a:t>
            </a:r>
          </a:p>
        </p:txBody>
      </p:sp>
      <p:graphicFrame>
        <p:nvGraphicFramePr>
          <p:cNvPr id="27" name="Platshållare för innehåll 26">
            <a:extLst>
              <a:ext uri="{FF2B5EF4-FFF2-40B4-BE49-F238E27FC236}">
                <a16:creationId xmlns:a16="http://schemas.microsoft.com/office/drawing/2014/main" id="{EC6EF698-87E0-4624-B254-C32278F5BB9E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371825886"/>
              </p:ext>
            </p:extLst>
          </p:nvPr>
        </p:nvGraphicFramePr>
        <p:xfrm>
          <a:off x="839788" y="1808163"/>
          <a:ext cx="4860000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Diagram 27">
            <a:extLst>
              <a:ext uri="{FF2B5EF4-FFF2-40B4-BE49-F238E27FC236}">
                <a16:creationId xmlns:a16="http://schemas.microsoft.com/office/drawing/2014/main" id="{F7B2FA22-9C62-4685-A2F7-88FBF5FA87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5078801"/>
              </p:ext>
            </p:extLst>
          </p:nvPr>
        </p:nvGraphicFramePr>
        <p:xfrm>
          <a:off x="6228853" y="1809488"/>
          <a:ext cx="4860000" cy="39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815447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ubrik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Ökad jobbtillväxt inom handel och tjänster</a:t>
            </a:r>
          </a:p>
        </p:txBody>
      </p:sp>
      <p:sp>
        <p:nvSpPr>
          <p:cNvPr id="19" name="Platshållare för text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 dirty="0"/>
              <a:t>ANTÄLLDA PER SEKTOR I GÖTEBORGSREGIONEN - NETTOTAL PER KVARTAL FRÅN 2006</a:t>
            </a:r>
          </a:p>
        </p:txBody>
      </p:sp>
      <p:sp>
        <p:nvSpPr>
          <p:cNvPr id="21" name="Platshållare för text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Konjunkturinstitutet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C20236F-A709-4955-A424-1BF0D5AD01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9757" y="-25456"/>
            <a:ext cx="720000" cy="720000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F3EEDE13-DC49-4191-AE74-66117EF48F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370" y="-5805"/>
            <a:ext cx="720000" cy="720000"/>
          </a:xfrm>
          <a:prstGeom prst="rect">
            <a:avLst/>
          </a:prstGeom>
        </p:spPr>
      </p:pic>
      <p:graphicFrame>
        <p:nvGraphicFramePr>
          <p:cNvPr id="11" name="Platshållare för innehåll 10">
            <a:extLst>
              <a:ext uri="{FF2B5EF4-FFF2-40B4-BE49-F238E27FC236}">
                <a16:creationId xmlns:a16="http://schemas.microsoft.com/office/drawing/2014/main" id="{C44DE680-18DA-467D-AC27-6267AEF4816C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786635563"/>
              </p:ext>
            </p:extLst>
          </p:nvPr>
        </p:nvGraphicFramePr>
        <p:xfrm>
          <a:off x="839788" y="1808163"/>
          <a:ext cx="10512425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43697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ubrik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rbetslösheten under sju procent i regionen</a:t>
            </a:r>
          </a:p>
        </p:txBody>
      </p:sp>
      <p:sp>
        <p:nvSpPr>
          <p:cNvPr id="19" name="Platshållare för text 18"/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6866397" cy="468312"/>
          </a:xfrm>
        </p:spPr>
        <p:txBody>
          <a:bodyPr/>
          <a:lstStyle/>
          <a:p>
            <a:r>
              <a:rPr lang="sv-SE" dirty="0"/>
              <a:t>ÖPPET ARBETSLÖSA SAMT I ARBETSMARKNADSPOLITISKA PROGRAM – PROCENT AV ARBETSKRAFTEN 16-64 ÅR</a:t>
            </a:r>
          </a:p>
        </p:txBody>
      </p:sp>
      <p:sp>
        <p:nvSpPr>
          <p:cNvPr id="21" name="Platshållare för text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Arbetsförmedlingen och SCB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94630ABC-E97A-4582-AA98-B69800F389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1106" y="3988"/>
            <a:ext cx="720000" cy="720000"/>
          </a:xfrm>
          <a:prstGeom prst="rect">
            <a:avLst/>
          </a:prstGeom>
        </p:spPr>
      </p:pic>
      <p:graphicFrame>
        <p:nvGraphicFramePr>
          <p:cNvPr id="9" name="Platshållare för innehåll 8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810597035"/>
              </p:ext>
            </p:extLst>
          </p:nvPr>
        </p:nvGraphicFramePr>
        <p:xfrm>
          <a:off x="839788" y="1808163"/>
          <a:ext cx="10512425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667209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ubrik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Många nyanmälda platser och få varsel i regionen</a:t>
            </a:r>
          </a:p>
        </p:txBody>
      </p:sp>
      <p:sp>
        <p:nvSpPr>
          <p:cNvPr id="19" name="Platshållare för text 18"/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8892935" cy="468312"/>
          </a:xfrm>
        </p:spPr>
        <p:txBody>
          <a:bodyPr/>
          <a:lstStyle/>
          <a:p>
            <a:r>
              <a:rPr lang="sv-SE" dirty="0"/>
              <a:t>NYANMÄLDA PLATSER MED TILLSVIDAREANSTÄLLNING OCH VARSEL I GÖTEBORGSREGIONEN – TRE MÅNADERS GLIDANDE MEDELVÄRDE</a:t>
            </a:r>
          </a:p>
        </p:txBody>
      </p:sp>
      <p:sp>
        <p:nvSpPr>
          <p:cNvPr id="21" name="Platshållare för text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Arbetsförmedlingen 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995CB640-A4EB-4B5B-9618-C21304B2A2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5510" y="30664"/>
            <a:ext cx="468000" cy="468000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FBA456BE-7922-4236-9ADF-082F26364A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9510" y="-228849"/>
            <a:ext cx="1080000" cy="108000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209BFA07-CA05-4222-B1BC-82A2CDCC570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169"/>
          <a:stretch/>
        </p:blipFill>
        <p:spPr>
          <a:xfrm>
            <a:off x="11333510" y="371770"/>
            <a:ext cx="720000" cy="279583"/>
          </a:xfrm>
          <a:prstGeom prst="rect">
            <a:avLst/>
          </a:prstGeom>
        </p:spPr>
      </p:pic>
      <p:graphicFrame>
        <p:nvGraphicFramePr>
          <p:cNvPr id="13" name="Platshållare för innehåll 12">
            <a:extLst>
              <a:ext uri="{FF2B5EF4-FFF2-40B4-BE49-F238E27FC236}">
                <a16:creationId xmlns:a16="http://schemas.microsoft.com/office/drawing/2014/main" id="{3BED373D-1C7A-4E28-A00F-6B1750A9114C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531848839"/>
              </p:ext>
            </p:extLst>
          </p:nvPr>
        </p:nvGraphicFramePr>
        <p:xfrm>
          <a:off x="839788" y="1808163"/>
          <a:ext cx="10512425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021343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objekt 11">
            <a:extLst>
              <a:ext uri="{FF2B5EF4-FFF2-40B4-BE49-F238E27FC236}">
                <a16:creationId xmlns:a16="http://schemas.microsoft.com/office/drawing/2014/main" id="{064F1E29-E0F6-4307-923C-0772834BF0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1106" y="45096"/>
            <a:ext cx="720000" cy="720000"/>
          </a:xfrm>
          <a:prstGeom prst="rect">
            <a:avLst/>
          </a:prstGeom>
        </p:spPr>
      </p:pic>
      <p:sp>
        <p:nvSpPr>
          <p:cNvPr id="18" name="Rubrik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etagens lönesummetillväxt ökar kraftigt</a:t>
            </a:r>
          </a:p>
        </p:txBody>
      </p:sp>
      <p:sp>
        <p:nvSpPr>
          <p:cNvPr id="19" name="Platshållare för text 18"/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6888880" cy="468312"/>
          </a:xfrm>
        </p:spPr>
        <p:txBody>
          <a:bodyPr/>
          <a:lstStyle/>
          <a:p>
            <a:r>
              <a:rPr lang="sv-SE" dirty="0"/>
              <a:t>REAL TILLVÄXT I FÖRETAGENS LÖNESUMMA - FÖRÄNDRING JÄMFÖRT MED MOTSVARANDE KVARTAL ÅRET INNAN</a:t>
            </a:r>
          </a:p>
        </p:txBody>
      </p:sp>
      <p:sp>
        <p:nvSpPr>
          <p:cNvPr id="21" name="Platshållare för text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Källa: SCB</a:t>
            </a:r>
          </a:p>
        </p:txBody>
      </p:sp>
      <p:graphicFrame>
        <p:nvGraphicFramePr>
          <p:cNvPr id="10" name="Platshållare för innehåll 9">
            <a:extLst>
              <a:ext uri="{FF2B5EF4-FFF2-40B4-BE49-F238E27FC236}">
                <a16:creationId xmlns:a16="http://schemas.microsoft.com/office/drawing/2014/main" id="{00000000-0008-0000-0500-000002000000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148893122"/>
              </p:ext>
            </p:extLst>
          </p:nvPr>
        </p:nvGraphicFramePr>
        <p:xfrm>
          <a:off x="839788" y="1808163"/>
          <a:ext cx="10512425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04067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[Skrivskyddad]" id="{C5A2068A-392C-4A4C-899B-BE544575DB55}" vid="{81D87786-4CE0-4509-845D-B8C240B23457}"/>
    </a:ext>
  </a:extLst>
</a:theme>
</file>

<file path=ppt/theme/theme2.xml><?xml version="1.0" encoding="utf-8"?>
<a:theme xmlns:a="http://schemas.openxmlformats.org/drawingml/2006/main" name="BRG Blue">
  <a:themeElements>
    <a:clrScheme name="Anpassat 104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C6D7E2"/>
      </a:accent1>
      <a:accent2>
        <a:srgbClr val="8AAEC4"/>
      </a:accent2>
      <a:accent3>
        <a:srgbClr val="6997B3"/>
      </a:accent3>
      <a:accent4>
        <a:srgbClr val="47748F"/>
      </a:accent4>
      <a:accent5>
        <a:srgbClr val="335367"/>
      </a:accent5>
      <a:accent6>
        <a:srgbClr val="22354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[Skrivskyddad]" id="{C5A2068A-392C-4A4C-899B-BE544575DB55}" vid="{E585DEE4-54BD-4518-B472-03A3B5F00113}"/>
    </a:ext>
  </a:extLst>
</a:theme>
</file>

<file path=ppt/theme/theme3.xml><?xml version="1.0" encoding="utf-8"?>
<a:theme xmlns:a="http://schemas.openxmlformats.org/drawingml/2006/main" name="BRG Green">
  <a:themeElements>
    <a:clrScheme name="Anpassat 101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B7D1C0"/>
      </a:accent1>
      <a:accent2>
        <a:srgbClr val="8FBB9F"/>
      </a:accent2>
      <a:accent3>
        <a:srgbClr val="6AA27E"/>
      </a:accent3>
      <a:accent4>
        <a:srgbClr val="548666"/>
      </a:accent4>
      <a:accent5>
        <a:srgbClr val="2C5A58"/>
      </a:accent5>
      <a:accent6>
        <a:srgbClr val="1B3235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[Skrivskyddad]" id="{C5A2068A-392C-4A4C-899B-BE544575DB55}" vid="{F02BB2DC-BD97-4DAC-BAFA-D0ECAE2E10EA}"/>
    </a:ext>
  </a:extLst>
</a:theme>
</file>

<file path=ppt/theme/theme4.xml><?xml version="1.0" encoding="utf-8"?>
<a:theme xmlns:a="http://schemas.openxmlformats.org/drawingml/2006/main" name="BRG Red">
  <a:themeElements>
    <a:clrScheme name="Anpassat 105">
      <a:dk1>
        <a:sysClr val="windowText" lastClr="000000"/>
      </a:dk1>
      <a:lt1>
        <a:sysClr val="window" lastClr="FFFFFF"/>
      </a:lt1>
      <a:dk2>
        <a:srgbClr val="2B4158"/>
      </a:dk2>
      <a:lt2>
        <a:srgbClr val="7899BC"/>
      </a:lt2>
      <a:accent1>
        <a:srgbClr val="EEC7B8"/>
      </a:accent1>
      <a:accent2>
        <a:srgbClr val="E2A38A"/>
      </a:accent2>
      <a:accent3>
        <a:srgbClr val="DB8B6B"/>
      </a:accent3>
      <a:accent4>
        <a:srgbClr val="CD5F33"/>
      </a:accent4>
      <a:accent5>
        <a:srgbClr val="9B4826"/>
      </a:accent5>
      <a:accent6>
        <a:srgbClr val="722B1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[Skrivskyddad]" id="{C5A2068A-392C-4A4C-899B-BE544575DB55}" vid="{C56B3F92-FF85-4D12-9F0D-D20098C6B5E4}"/>
    </a:ext>
  </a:extLst>
</a:theme>
</file>

<file path=ppt/theme/theme5.xml><?xml version="1.0" encoding="utf-8"?>
<a:theme xmlns:a="http://schemas.openxmlformats.org/drawingml/2006/main" name="BRG Advanced">
  <a:themeElements>
    <a:clrScheme name="BRG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98ADAE"/>
      </a:accent5>
      <a:accent6>
        <a:srgbClr val="E5EDF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[Skrivskyddad]" id="{C5A2068A-392C-4A4C-899B-BE544575DB55}" vid="{CA3781E1-9D31-4383-A543-834EAAC9C2FE}"/>
    </a:ext>
  </a:extLst>
</a:theme>
</file>

<file path=ppt/theme/theme6.xml><?xml version="1.0" encoding="utf-8"?>
<a:theme xmlns:a="http://schemas.openxmlformats.org/drawingml/2006/main" name="BRG Utfallande bild">
  <a:themeElements>
    <a:clrScheme name="BRG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98ADAE"/>
      </a:accent5>
      <a:accent6>
        <a:srgbClr val="E5EDF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[Skrivskyddad]" id="{C5A2068A-392C-4A4C-899B-BE544575DB55}" vid="{21AC587A-81CC-4C2C-986A-18A12E3DAEF4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tum xmlns="544ed455-2304-41e4-8425-360ddd3f2b92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2E3414E3239574BA418E4EFB53068FE" ma:contentTypeVersion="14" ma:contentTypeDescription="Skapa ett nytt dokument." ma:contentTypeScope="" ma:versionID="f93cb24e694222b22f4a8b27a52c3c3e">
  <xsd:schema xmlns:xsd="http://www.w3.org/2001/XMLSchema" xmlns:xs="http://www.w3.org/2001/XMLSchema" xmlns:p="http://schemas.microsoft.com/office/2006/metadata/properties" xmlns:ns2="544ed455-2304-41e4-8425-360ddd3f2b92" xmlns:ns3="4af0e314-ca46-4d76-af73-16c4137eef8a" targetNamespace="http://schemas.microsoft.com/office/2006/metadata/properties" ma:root="true" ma:fieldsID="467c9b350a29adfdd5dc8a65ae1bba9b" ns2:_="" ns3:_="">
    <xsd:import namespace="544ed455-2304-41e4-8425-360ddd3f2b92"/>
    <xsd:import namespace="4af0e314-ca46-4d76-af73-16c4137eef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Datum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4ed455-2304-41e4-8425-360ddd3f2b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Datum" ma:index="16" nillable="true" ma:displayName="Datum" ma:format="DateOnly" ma:internalName="Datum">
      <xsd:simpleType>
        <xsd:restriction base="dms:DateTime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f0e314-ca46-4d76-af73-16c4137eef8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D1BB66-3A7F-4A52-A682-A6D974F3E457}">
  <ds:schemaRefs>
    <ds:schemaRef ds:uri="http://purl.org/dc/dcmitype/"/>
    <ds:schemaRef ds:uri="http://schemas.microsoft.com/office/infopath/2007/PartnerControls"/>
    <ds:schemaRef ds:uri="4af0e314-ca46-4d76-af73-16c4137eef8a"/>
    <ds:schemaRef ds:uri="http://schemas.microsoft.com/office/2006/metadata/properties"/>
    <ds:schemaRef ds:uri="http://purl.org/dc/terms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544ed455-2304-41e4-8425-360ddd3f2b92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76CBEA91-E608-45B9-A090-669C14417F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4ed455-2304-41e4-8425-360ddd3f2b92"/>
    <ds:schemaRef ds:uri="4af0e314-ca46-4d76-af73-16c4137eef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7132AB9-EB63-4E2D-9DB1-934EE4EDA4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G mall 2019</Template>
  <TotalTime>0</TotalTime>
  <Words>1122</Words>
  <Application>Microsoft Office PowerPoint</Application>
  <PresentationFormat>Bredbild</PresentationFormat>
  <Paragraphs>384</Paragraphs>
  <Slides>14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8</vt:i4>
      </vt:variant>
      <vt:variant>
        <vt:lpstr>Tema</vt:lpstr>
      </vt:variant>
      <vt:variant>
        <vt:i4>6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29" baseType="lpstr">
      <vt:lpstr>Arial</vt:lpstr>
      <vt:lpstr>Arial Rounded MT Bold</vt:lpstr>
      <vt:lpstr>Calibri</vt:lpstr>
      <vt:lpstr>Galaxie Polaris Bold</vt:lpstr>
      <vt:lpstr>Galaxie Polaris Heavy</vt:lpstr>
      <vt:lpstr>Galaxie Polaris Medium</vt:lpstr>
      <vt:lpstr>ITC New Baskerville Std</vt:lpstr>
      <vt:lpstr>Wingdings</vt:lpstr>
      <vt:lpstr>BRG Basic</vt:lpstr>
      <vt:lpstr>BRG Blue</vt:lpstr>
      <vt:lpstr>BRG Green</vt:lpstr>
      <vt:lpstr>BRG Red</vt:lpstr>
      <vt:lpstr>BRG Advanced</vt:lpstr>
      <vt:lpstr>BRG Utfallande bild</vt:lpstr>
      <vt:lpstr>think-cell Slide</vt:lpstr>
      <vt:lpstr>PowerPoint-presentation</vt:lpstr>
      <vt:lpstr>Starkare läge för viktiga marknader</vt:lpstr>
      <vt:lpstr>Sveriges ekonomiska tillväxt spås vara god framåt</vt:lpstr>
      <vt:lpstr>Rådande högkonjunktur upplevs av regionens företag </vt:lpstr>
      <vt:lpstr>Högkonjunktur inom både handel och tjänster</vt:lpstr>
      <vt:lpstr>Ökad jobbtillväxt inom handel och tjänster</vt:lpstr>
      <vt:lpstr>Arbetslösheten under sju procent i regionen</vt:lpstr>
      <vt:lpstr>Många nyanmälda platser och få varsel i regionen</vt:lpstr>
      <vt:lpstr>Företagens lönesummetillväxt ökar kraftigt</vt:lpstr>
      <vt:lpstr>Svag befolkningstillväxt i regionen fram till halvårsskiftet 2021</vt:lpstr>
      <vt:lpstr>Senaste perioden visar på fallande bostadspriser</vt:lpstr>
      <vt:lpstr>Lägre nivå på konkurser och drabbade anställda</vt:lpstr>
      <vt:lpstr>Sammanfattande tabell över konjunkturläget i Göteborgsregionen</vt:lpstr>
      <vt:lpstr>PowerPoint-presentation</vt:lpstr>
    </vt:vector>
  </TitlesOfParts>
  <Company>Business Region Göteborg A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junkturen #2 2021 PPT</dc:title>
  <dc:creator>Peter Warda</dc:creator>
  <cp:lastModifiedBy>Peter Warda</cp:lastModifiedBy>
  <cp:revision>122</cp:revision>
  <cp:lastPrinted>2019-03-29T12:26:32Z</cp:lastPrinted>
  <dcterms:created xsi:type="dcterms:W3CDTF">2019-08-16T14:17:30Z</dcterms:created>
  <dcterms:modified xsi:type="dcterms:W3CDTF">2021-09-14T10:0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E3414E3239574BA418E4EFB53068FE</vt:lpwstr>
  </property>
</Properties>
</file>